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4"/>
    <p:sldMasterId id="2147483675" r:id="rId5"/>
  </p:sldMasterIdLst>
  <p:notesMasterIdLst>
    <p:notesMasterId r:id="rId17"/>
  </p:notesMasterIdLst>
  <p:sldIdLst>
    <p:sldId id="257" r:id="rId6"/>
    <p:sldId id="2147475220" r:id="rId7"/>
    <p:sldId id="2147475223" r:id="rId8"/>
    <p:sldId id="2147475224" r:id="rId9"/>
    <p:sldId id="2147475227" r:id="rId10"/>
    <p:sldId id="2147475231" r:id="rId11"/>
    <p:sldId id="2147475242" r:id="rId12"/>
    <p:sldId id="2147475243" r:id="rId13"/>
    <p:sldId id="2147475244" r:id="rId14"/>
    <p:sldId id="2147475230" r:id="rId15"/>
    <p:sldId id="2147475229" r:id="rId1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E326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C01A77B-E18F-430D-8ECC-0FEDEFF5473D}" v="6" dt="2024-10-21T08:30:29.21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9" d="100"/>
          <a:sy n="79" d="100"/>
        </p:scale>
        <p:origin x="821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svg"/><Relationship Id="rId1" Type="http://schemas.openxmlformats.org/officeDocument/2006/relationships/image" Target="../media/image6.png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9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DDE332-7835-45C0-8F61-8F1F9A09606D}" type="doc">
      <dgm:prSet loTypeId="urn:microsoft.com/office/officeart/2005/8/layout/b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GB"/>
        </a:p>
      </dgm:t>
    </dgm:pt>
    <dgm:pt modelId="{5430090A-7EB4-42C6-A191-6C70AB6B11DB}">
      <dgm:prSet phldrT="[Text]" custT="1"/>
      <dgm:spPr>
        <a:ln>
          <a:noFill/>
        </a:ln>
      </dgm:spPr>
      <dgm:t>
        <a:bodyPr/>
        <a:lstStyle/>
        <a:p>
          <a:r>
            <a:rPr lang="en-GB" sz="2800" dirty="0"/>
            <a:t>Data</a:t>
          </a:r>
        </a:p>
      </dgm:t>
    </dgm:pt>
    <dgm:pt modelId="{F77521B1-2B5A-482E-955B-2F231EC8E266}" type="parTrans" cxnId="{C9692AA5-77FE-49A0-919C-6BEBE5FE7D93}">
      <dgm:prSet/>
      <dgm:spPr/>
      <dgm:t>
        <a:bodyPr/>
        <a:lstStyle/>
        <a:p>
          <a:endParaRPr lang="en-GB"/>
        </a:p>
      </dgm:t>
    </dgm:pt>
    <dgm:pt modelId="{B05A1CCF-E377-411E-90FF-6BB7B0192823}" type="sibTrans" cxnId="{C9692AA5-77FE-49A0-919C-6BEBE5FE7D93}">
      <dgm:prSet/>
      <dgm:spPr/>
      <dgm:t>
        <a:bodyPr/>
        <a:lstStyle/>
        <a:p>
          <a:endParaRPr lang="en-GB"/>
        </a:p>
      </dgm:t>
    </dgm:pt>
    <dgm:pt modelId="{3E5A7668-747A-425C-81AD-D0204AFEAF8C}">
      <dgm:prSet phldrT="[Text]" custT="1"/>
      <dgm:spPr/>
      <dgm:t>
        <a:bodyPr/>
        <a:lstStyle/>
        <a:p>
          <a:r>
            <a:rPr lang="en-GB" sz="1800" dirty="0"/>
            <a:t>Agreed timeframe for data in scope</a:t>
          </a:r>
        </a:p>
      </dgm:t>
    </dgm:pt>
    <dgm:pt modelId="{C3BA6F4E-16EF-42E6-9518-4D191E5537B0}" type="parTrans" cxnId="{7831C448-9E0D-4E59-B273-CB736163CBD2}">
      <dgm:prSet/>
      <dgm:spPr/>
      <dgm:t>
        <a:bodyPr/>
        <a:lstStyle/>
        <a:p>
          <a:endParaRPr lang="en-GB"/>
        </a:p>
      </dgm:t>
    </dgm:pt>
    <dgm:pt modelId="{EC0320D2-F179-4F84-B61A-7C959D77A5D7}" type="sibTrans" cxnId="{7831C448-9E0D-4E59-B273-CB736163CBD2}">
      <dgm:prSet/>
      <dgm:spPr/>
      <dgm:t>
        <a:bodyPr/>
        <a:lstStyle/>
        <a:p>
          <a:endParaRPr lang="en-GB"/>
        </a:p>
      </dgm:t>
    </dgm:pt>
    <dgm:pt modelId="{22EBA46F-16DE-46B9-9E58-AFADFB972446}">
      <dgm:prSet phldrT="[Text]" custT="1"/>
      <dgm:spPr/>
      <dgm:t>
        <a:bodyPr/>
        <a:lstStyle/>
        <a:p>
          <a:r>
            <a:rPr lang="en-GB" sz="1800" dirty="0"/>
            <a:t>Access to funding for staff time to support the work</a:t>
          </a:r>
        </a:p>
      </dgm:t>
    </dgm:pt>
    <dgm:pt modelId="{5068EE34-B1D8-4E83-BF0E-BBD2A3774E52}" type="parTrans" cxnId="{19F96B8D-8DA0-41E6-96EA-00E31617FD42}">
      <dgm:prSet/>
      <dgm:spPr/>
      <dgm:t>
        <a:bodyPr/>
        <a:lstStyle/>
        <a:p>
          <a:endParaRPr lang="en-GB"/>
        </a:p>
      </dgm:t>
    </dgm:pt>
    <dgm:pt modelId="{8497BE3E-C8B1-4154-8170-56B7EAB40D93}" type="sibTrans" cxnId="{19F96B8D-8DA0-41E6-96EA-00E31617FD42}">
      <dgm:prSet/>
      <dgm:spPr/>
      <dgm:t>
        <a:bodyPr/>
        <a:lstStyle/>
        <a:p>
          <a:endParaRPr lang="en-GB"/>
        </a:p>
      </dgm:t>
    </dgm:pt>
    <dgm:pt modelId="{7265E568-C716-4E59-99BB-CCCB6781AF3A}">
      <dgm:prSet phldrT="[Text]" custT="1"/>
      <dgm:spPr>
        <a:ln>
          <a:noFill/>
        </a:ln>
      </dgm:spPr>
      <dgm:t>
        <a:bodyPr/>
        <a:lstStyle/>
        <a:p>
          <a:r>
            <a:rPr lang="en-GB" sz="2800" dirty="0"/>
            <a:t>Time &amp; Motion Modelling</a:t>
          </a:r>
        </a:p>
      </dgm:t>
    </dgm:pt>
    <dgm:pt modelId="{94CB2E0D-87B9-48FA-9540-B617D2FBAE17}" type="parTrans" cxnId="{EF49265B-CEA0-4444-BBBA-CA1E8BB94955}">
      <dgm:prSet/>
      <dgm:spPr/>
      <dgm:t>
        <a:bodyPr/>
        <a:lstStyle/>
        <a:p>
          <a:endParaRPr lang="en-GB"/>
        </a:p>
      </dgm:t>
    </dgm:pt>
    <dgm:pt modelId="{7CCBDB6A-1F9F-4530-8C9C-E9526E5E17D0}" type="sibTrans" cxnId="{EF49265B-CEA0-4444-BBBA-CA1E8BB94955}">
      <dgm:prSet/>
      <dgm:spPr/>
      <dgm:t>
        <a:bodyPr/>
        <a:lstStyle/>
        <a:p>
          <a:endParaRPr lang="en-GB"/>
        </a:p>
      </dgm:t>
    </dgm:pt>
    <dgm:pt modelId="{F4C5FE63-6FB9-4E0E-950C-9385E485B389}">
      <dgm:prSet phldrT="[Text]" custT="1"/>
      <dgm:spPr/>
      <dgm:t>
        <a:bodyPr/>
        <a:lstStyle/>
        <a:p>
          <a:r>
            <a:rPr lang="en-GB" sz="1800" dirty="0"/>
            <a:t>All Provider Trusts to participate</a:t>
          </a:r>
        </a:p>
      </dgm:t>
    </dgm:pt>
    <dgm:pt modelId="{B117954C-416D-4EBD-91D3-5175D50AD8ED}" type="parTrans" cxnId="{E97CDFA4-83F9-45F4-8FC3-5B8711F4A03B}">
      <dgm:prSet/>
      <dgm:spPr/>
      <dgm:t>
        <a:bodyPr/>
        <a:lstStyle/>
        <a:p>
          <a:endParaRPr lang="en-GB"/>
        </a:p>
      </dgm:t>
    </dgm:pt>
    <dgm:pt modelId="{193618D7-9BEF-4E70-A613-009C9EC643D0}" type="sibTrans" cxnId="{E97CDFA4-83F9-45F4-8FC3-5B8711F4A03B}">
      <dgm:prSet/>
      <dgm:spPr/>
      <dgm:t>
        <a:bodyPr/>
        <a:lstStyle/>
        <a:p>
          <a:endParaRPr lang="en-GB"/>
        </a:p>
      </dgm:t>
    </dgm:pt>
    <dgm:pt modelId="{9D584C22-C65C-4C21-86EE-ED5ACAF48528}">
      <dgm:prSet phldrT="[Text]" custT="1"/>
      <dgm:spPr/>
      <dgm:t>
        <a:bodyPr/>
        <a:lstStyle/>
        <a:p>
          <a:r>
            <a:rPr lang="en-GB" sz="1800" dirty="0"/>
            <a:t>Agreed duration – e.g. several days repeated over 2 consecutive weeks – 2 or more full consecutive weeks</a:t>
          </a:r>
        </a:p>
      </dgm:t>
    </dgm:pt>
    <dgm:pt modelId="{D9D14E04-2A29-49E8-8FF0-D579720B9EB1}" type="parTrans" cxnId="{DB5C4674-AA95-4DA6-8733-693CE2D31B0B}">
      <dgm:prSet/>
      <dgm:spPr/>
      <dgm:t>
        <a:bodyPr/>
        <a:lstStyle/>
        <a:p>
          <a:endParaRPr lang="en-GB"/>
        </a:p>
      </dgm:t>
    </dgm:pt>
    <dgm:pt modelId="{269F14F9-76A4-4696-81B5-98D51D0089A8}" type="sibTrans" cxnId="{DB5C4674-AA95-4DA6-8733-693CE2D31B0B}">
      <dgm:prSet/>
      <dgm:spPr/>
      <dgm:t>
        <a:bodyPr/>
        <a:lstStyle/>
        <a:p>
          <a:endParaRPr lang="en-GB"/>
        </a:p>
      </dgm:t>
    </dgm:pt>
    <dgm:pt modelId="{99C1BF84-EAB8-429A-8CB2-691B5F8FC1BA}">
      <dgm:prSet phldrT="[Text]" custT="1"/>
      <dgm:spPr/>
      <dgm:t>
        <a:bodyPr/>
        <a:lstStyle/>
        <a:p>
          <a:r>
            <a:rPr lang="en-GB" sz="1800" dirty="0"/>
            <a:t>Access to funding for staff time to support the work</a:t>
          </a:r>
        </a:p>
      </dgm:t>
    </dgm:pt>
    <dgm:pt modelId="{CEA1C2BE-D3F0-444E-B6CA-517FB8BAD202}" type="parTrans" cxnId="{BD5A1A29-A7FD-4F19-9570-844C0BEE1D32}">
      <dgm:prSet/>
      <dgm:spPr/>
      <dgm:t>
        <a:bodyPr/>
        <a:lstStyle/>
        <a:p>
          <a:endParaRPr lang="en-GB"/>
        </a:p>
      </dgm:t>
    </dgm:pt>
    <dgm:pt modelId="{77ACE001-6816-443D-82FE-64BBC69DEFF4}" type="sibTrans" cxnId="{BD5A1A29-A7FD-4F19-9570-844C0BEE1D32}">
      <dgm:prSet/>
      <dgm:spPr/>
      <dgm:t>
        <a:bodyPr/>
        <a:lstStyle/>
        <a:p>
          <a:endParaRPr lang="en-GB"/>
        </a:p>
      </dgm:t>
    </dgm:pt>
    <dgm:pt modelId="{1650E211-DC67-45B1-B0F5-05022461A8E0}">
      <dgm:prSet phldrT="[Text]" custT="1"/>
      <dgm:spPr/>
      <dgm:t>
        <a:bodyPr/>
        <a:lstStyle/>
        <a:p>
          <a:r>
            <a:rPr lang="en-GB" sz="1800" dirty="0"/>
            <a:t>All complete to same level dataset</a:t>
          </a:r>
        </a:p>
      </dgm:t>
    </dgm:pt>
    <dgm:pt modelId="{B3927B26-8069-4173-8EFD-E7E404BFA1ED}" type="parTrans" cxnId="{4109B321-02BE-4600-96A5-DCA905C561C6}">
      <dgm:prSet/>
      <dgm:spPr/>
      <dgm:t>
        <a:bodyPr/>
        <a:lstStyle/>
        <a:p>
          <a:endParaRPr lang="en-GB"/>
        </a:p>
      </dgm:t>
    </dgm:pt>
    <dgm:pt modelId="{B0900FFA-3CE6-430F-8FD5-A6F2DF71B84B}" type="sibTrans" cxnId="{4109B321-02BE-4600-96A5-DCA905C561C6}">
      <dgm:prSet/>
      <dgm:spPr/>
      <dgm:t>
        <a:bodyPr/>
        <a:lstStyle/>
        <a:p>
          <a:endParaRPr lang="en-GB"/>
        </a:p>
      </dgm:t>
    </dgm:pt>
    <dgm:pt modelId="{BDD52193-02F4-4775-9348-C63605056779}">
      <dgm:prSet phldrT="[Text]" custT="1"/>
      <dgm:spPr/>
      <dgm:t>
        <a:bodyPr/>
        <a:lstStyle/>
        <a:p>
          <a:r>
            <a:rPr lang="en-GB" sz="1800" dirty="0"/>
            <a:t>Option to have onsite support from Alliance Team</a:t>
          </a:r>
        </a:p>
      </dgm:t>
    </dgm:pt>
    <dgm:pt modelId="{B2398DE7-5A5C-4390-B270-29DD93D6F4ED}" type="parTrans" cxnId="{FF11A381-1509-4B7E-AADC-4E008A3B9EDF}">
      <dgm:prSet/>
      <dgm:spPr/>
      <dgm:t>
        <a:bodyPr/>
        <a:lstStyle/>
        <a:p>
          <a:endParaRPr lang="en-GB"/>
        </a:p>
      </dgm:t>
    </dgm:pt>
    <dgm:pt modelId="{F9F480DA-525D-4F37-9E26-6A96459E119E}" type="sibTrans" cxnId="{FF11A381-1509-4B7E-AADC-4E008A3B9EDF}">
      <dgm:prSet/>
      <dgm:spPr/>
      <dgm:t>
        <a:bodyPr/>
        <a:lstStyle/>
        <a:p>
          <a:endParaRPr lang="en-GB"/>
        </a:p>
      </dgm:t>
    </dgm:pt>
    <dgm:pt modelId="{1E603E86-B8BB-4A9C-9595-2ED86243B0AA}">
      <dgm:prSet phldrT="[Text]" custT="1"/>
      <dgm:spPr/>
      <dgm:t>
        <a:bodyPr/>
        <a:lstStyle/>
        <a:p>
          <a:r>
            <a:rPr lang="en-GB" sz="2800" dirty="0"/>
            <a:t>Reporting</a:t>
          </a:r>
        </a:p>
      </dgm:t>
    </dgm:pt>
    <dgm:pt modelId="{90585E07-783C-4D75-9187-E6F9D4865614}" type="parTrans" cxnId="{F43C3372-45A1-4C07-9C07-F7F91CC63AC7}">
      <dgm:prSet/>
      <dgm:spPr/>
      <dgm:t>
        <a:bodyPr/>
        <a:lstStyle/>
        <a:p>
          <a:endParaRPr lang="en-GB"/>
        </a:p>
      </dgm:t>
    </dgm:pt>
    <dgm:pt modelId="{CD910A90-A875-4466-9E37-13A0B3E20D97}" type="sibTrans" cxnId="{F43C3372-45A1-4C07-9C07-F7F91CC63AC7}">
      <dgm:prSet/>
      <dgm:spPr/>
      <dgm:t>
        <a:bodyPr/>
        <a:lstStyle/>
        <a:p>
          <a:endParaRPr lang="en-GB"/>
        </a:p>
      </dgm:t>
    </dgm:pt>
    <dgm:pt modelId="{32D28217-A6D9-409D-B171-E45B7AE01BD3}">
      <dgm:prSet phldrT="[Text]" custT="1"/>
      <dgm:spPr/>
      <dgm:t>
        <a:bodyPr/>
        <a:lstStyle/>
        <a:p>
          <a:r>
            <a:rPr lang="en-GB" sz="1800" dirty="0"/>
            <a:t>All Trusts to receive bespoke report and offer of Alliance/ MSD supported review meeting</a:t>
          </a:r>
        </a:p>
      </dgm:t>
    </dgm:pt>
    <dgm:pt modelId="{9E176C10-9A0C-4AA5-A891-97751A71C86B}" type="parTrans" cxnId="{27D6FFFE-0AE6-4F04-980E-1895F268AC9C}">
      <dgm:prSet/>
      <dgm:spPr/>
      <dgm:t>
        <a:bodyPr/>
        <a:lstStyle/>
        <a:p>
          <a:endParaRPr lang="en-GB"/>
        </a:p>
      </dgm:t>
    </dgm:pt>
    <dgm:pt modelId="{3639588F-77B3-4FD4-AFDF-E031D577F801}" type="sibTrans" cxnId="{27D6FFFE-0AE6-4F04-980E-1895F268AC9C}">
      <dgm:prSet/>
      <dgm:spPr/>
      <dgm:t>
        <a:bodyPr/>
        <a:lstStyle/>
        <a:p>
          <a:endParaRPr lang="en-GB"/>
        </a:p>
      </dgm:t>
    </dgm:pt>
    <dgm:pt modelId="{4DB844E8-A4F6-4C76-B6C4-A74433B3DF30}">
      <dgm:prSet phldrT="[Text]" custT="1"/>
      <dgm:spPr/>
      <dgm:t>
        <a:bodyPr/>
        <a:lstStyle/>
        <a:p>
          <a:r>
            <a:rPr lang="en-GB" sz="1800" dirty="0"/>
            <a:t>Alliance to host workshop style session for all Trusts to share findings, review and agree next steps</a:t>
          </a:r>
        </a:p>
      </dgm:t>
    </dgm:pt>
    <dgm:pt modelId="{3971FA7E-66A4-441E-9939-C36DF1D00A06}" type="parTrans" cxnId="{1027A75F-8577-4945-AB1D-EE07AD592A25}">
      <dgm:prSet/>
      <dgm:spPr/>
      <dgm:t>
        <a:bodyPr/>
        <a:lstStyle/>
        <a:p>
          <a:endParaRPr lang="en-GB"/>
        </a:p>
      </dgm:t>
    </dgm:pt>
    <dgm:pt modelId="{8B03051B-1743-4DA8-BB9B-00DC5DD61474}" type="sibTrans" cxnId="{1027A75F-8577-4945-AB1D-EE07AD592A25}">
      <dgm:prSet/>
      <dgm:spPr/>
      <dgm:t>
        <a:bodyPr/>
        <a:lstStyle/>
        <a:p>
          <a:endParaRPr lang="en-GB"/>
        </a:p>
      </dgm:t>
    </dgm:pt>
    <dgm:pt modelId="{668FDA0A-8822-46A7-8882-592CE0B4C4D5}">
      <dgm:prSet phldrT="[Text]" custT="1"/>
      <dgm:spPr/>
      <dgm:t>
        <a:bodyPr/>
        <a:lstStyle/>
        <a:p>
          <a:r>
            <a:rPr lang="en-GB" sz="1800" dirty="0"/>
            <a:t>All Provider Trusts to participate</a:t>
          </a:r>
        </a:p>
      </dgm:t>
    </dgm:pt>
    <dgm:pt modelId="{6A19D654-E432-4EE2-B837-D5D15A2709C0}" type="parTrans" cxnId="{A4656B83-3124-41CC-9FD6-E5BE13993748}">
      <dgm:prSet/>
      <dgm:spPr/>
      <dgm:t>
        <a:bodyPr/>
        <a:lstStyle/>
        <a:p>
          <a:endParaRPr lang="en-GB"/>
        </a:p>
      </dgm:t>
    </dgm:pt>
    <dgm:pt modelId="{6951E1A9-DCEE-435F-8126-FEB4C77E95E0}" type="sibTrans" cxnId="{A4656B83-3124-41CC-9FD6-E5BE13993748}">
      <dgm:prSet/>
      <dgm:spPr/>
      <dgm:t>
        <a:bodyPr/>
        <a:lstStyle/>
        <a:p>
          <a:endParaRPr lang="en-GB"/>
        </a:p>
      </dgm:t>
    </dgm:pt>
    <dgm:pt modelId="{19644CF8-B506-461E-B559-13CDA59F780B}">
      <dgm:prSet phldrT="[Text]" custT="1"/>
      <dgm:spPr/>
      <dgm:t>
        <a:bodyPr/>
        <a:lstStyle/>
        <a:p>
          <a:r>
            <a:rPr lang="en-GB" sz="1800" dirty="0">
              <a:highlight>
                <a:srgbClr val="FFFF00"/>
              </a:highlight>
            </a:rPr>
            <a:t>Deadline for return of ‘green’ information by Weds 23</a:t>
          </a:r>
          <a:r>
            <a:rPr lang="en-GB" sz="1800" baseline="30000" dirty="0">
              <a:highlight>
                <a:srgbClr val="FFFF00"/>
              </a:highlight>
            </a:rPr>
            <a:t>rd</a:t>
          </a:r>
          <a:r>
            <a:rPr lang="en-GB" sz="1800" dirty="0">
              <a:highlight>
                <a:srgbClr val="FFFF00"/>
              </a:highlight>
            </a:rPr>
            <a:t> Oct</a:t>
          </a:r>
        </a:p>
      </dgm:t>
    </dgm:pt>
    <dgm:pt modelId="{4EFBEA5F-81B3-4D1E-8BC6-259746F4B463}" type="parTrans" cxnId="{6E6008E9-2361-446F-BF36-DF2730F0A6E3}">
      <dgm:prSet/>
      <dgm:spPr/>
      <dgm:t>
        <a:bodyPr/>
        <a:lstStyle/>
        <a:p>
          <a:endParaRPr lang="en-GB"/>
        </a:p>
      </dgm:t>
    </dgm:pt>
    <dgm:pt modelId="{688E0CDF-0A07-4640-8938-FB9D83EB8BE3}" type="sibTrans" cxnId="{6E6008E9-2361-446F-BF36-DF2730F0A6E3}">
      <dgm:prSet/>
      <dgm:spPr/>
      <dgm:t>
        <a:bodyPr/>
        <a:lstStyle/>
        <a:p>
          <a:endParaRPr lang="en-GB"/>
        </a:p>
      </dgm:t>
    </dgm:pt>
    <dgm:pt modelId="{BF98B292-0ECC-4E25-8E86-51F85D8649E5}">
      <dgm:prSet phldrT="[Text]" custT="1"/>
      <dgm:spPr/>
      <dgm:t>
        <a:bodyPr/>
        <a:lstStyle/>
        <a:p>
          <a:r>
            <a:rPr lang="en-GB" sz="1800" dirty="0">
              <a:highlight>
                <a:srgbClr val="FFFF00"/>
              </a:highlight>
            </a:rPr>
            <a:t>Deadline for completion of Time &amp; Motion element end of Nov</a:t>
          </a:r>
        </a:p>
      </dgm:t>
    </dgm:pt>
    <dgm:pt modelId="{64BA851F-F7CE-4D81-A4B2-7DBFB8A75F34}" type="parTrans" cxnId="{416C2B4A-4C28-4799-AE26-7F0B06C1CF7F}">
      <dgm:prSet/>
      <dgm:spPr/>
      <dgm:t>
        <a:bodyPr/>
        <a:lstStyle/>
        <a:p>
          <a:endParaRPr lang="en-GB"/>
        </a:p>
      </dgm:t>
    </dgm:pt>
    <dgm:pt modelId="{5DA0ABA5-2BE5-41BE-9E65-6743AC1CCB8A}" type="sibTrans" cxnId="{416C2B4A-4C28-4799-AE26-7F0B06C1CF7F}">
      <dgm:prSet/>
      <dgm:spPr/>
      <dgm:t>
        <a:bodyPr/>
        <a:lstStyle/>
        <a:p>
          <a:endParaRPr lang="en-GB"/>
        </a:p>
      </dgm:t>
    </dgm:pt>
    <dgm:pt modelId="{60ED59E4-32DE-4ACD-B5A1-E417079DDE65}">
      <dgm:prSet phldrT="[Text]" custT="1"/>
      <dgm:spPr/>
      <dgm:t>
        <a:bodyPr/>
        <a:lstStyle/>
        <a:p>
          <a:r>
            <a:rPr lang="en-GB" sz="1800" dirty="0">
              <a:highlight>
                <a:srgbClr val="FFFF00"/>
              </a:highlight>
            </a:rPr>
            <a:t>Reporting collated and issued to each Provider with Provider and Alliance level recommendations end of the year/ Jan 20205</a:t>
          </a:r>
        </a:p>
      </dgm:t>
    </dgm:pt>
    <dgm:pt modelId="{EC80AD10-2D41-4DB6-8BF7-5E86A39AFB3C}" type="parTrans" cxnId="{6B8BEF49-259C-4177-A1E5-C10C5B16A0DD}">
      <dgm:prSet/>
      <dgm:spPr/>
      <dgm:t>
        <a:bodyPr/>
        <a:lstStyle/>
        <a:p>
          <a:endParaRPr lang="en-GB"/>
        </a:p>
      </dgm:t>
    </dgm:pt>
    <dgm:pt modelId="{83F82F9B-3FCC-4366-AD9F-A79120F5C834}" type="sibTrans" cxnId="{6B8BEF49-259C-4177-A1E5-C10C5B16A0DD}">
      <dgm:prSet/>
      <dgm:spPr/>
      <dgm:t>
        <a:bodyPr/>
        <a:lstStyle/>
        <a:p>
          <a:endParaRPr lang="en-GB"/>
        </a:p>
      </dgm:t>
    </dgm:pt>
    <dgm:pt modelId="{0C233572-4025-41AA-850F-B49E47F5A408}" type="pres">
      <dgm:prSet presAssocID="{10DDE332-7835-45C0-8F61-8F1F9A09606D}" presName="diagram" presStyleCnt="0">
        <dgm:presLayoutVars>
          <dgm:dir/>
          <dgm:animLvl val="lvl"/>
          <dgm:resizeHandles val="exact"/>
        </dgm:presLayoutVars>
      </dgm:prSet>
      <dgm:spPr/>
    </dgm:pt>
    <dgm:pt modelId="{727303D0-8550-4C7D-A8A2-EE9904C0380C}" type="pres">
      <dgm:prSet presAssocID="{5430090A-7EB4-42C6-A191-6C70AB6B11DB}" presName="compNode" presStyleCnt="0"/>
      <dgm:spPr/>
    </dgm:pt>
    <dgm:pt modelId="{9D71893A-BD8C-4850-B24C-65A37F79F374}" type="pres">
      <dgm:prSet presAssocID="{5430090A-7EB4-42C6-A191-6C70AB6B11DB}" presName="childRect" presStyleLbl="bgAcc1" presStyleIdx="0" presStyleCnt="3" custScaleY="145530">
        <dgm:presLayoutVars>
          <dgm:bulletEnabled val="1"/>
        </dgm:presLayoutVars>
      </dgm:prSet>
      <dgm:spPr/>
    </dgm:pt>
    <dgm:pt modelId="{E8BFBDA4-CDD0-4446-A70A-AE0060F85027}" type="pres">
      <dgm:prSet presAssocID="{5430090A-7EB4-42C6-A191-6C70AB6B11DB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9EB32A37-7254-4492-88B1-CD4986ABF254}" type="pres">
      <dgm:prSet presAssocID="{5430090A-7EB4-42C6-A191-6C70AB6B11DB}" presName="parentRect" presStyleLbl="alignNode1" presStyleIdx="0" presStyleCnt="3"/>
      <dgm:spPr/>
    </dgm:pt>
    <dgm:pt modelId="{BFE8B570-00FF-4914-A018-2FC941392216}" type="pres">
      <dgm:prSet presAssocID="{5430090A-7EB4-42C6-A191-6C70AB6B11DB}" presName="adorn" presStyleLbl="fgAccFollowNode1" presStyleIdx="0" presStyleCnt="3" custLinFactNeighborX="-17633" custLinFactNeighborY="-15229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</dgm:pt>
    <dgm:pt modelId="{7BCCB78C-AF83-4E12-8EA3-9013437CD461}" type="pres">
      <dgm:prSet presAssocID="{B05A1CCF-E377-411E-90FF-6BB7B0192823}" presName="sibTrans" presStyleLbl="sibTrans2D1" presStyleIdx="0" presStyleCnt="0"/>
      <dgm:spPr/>
    </dgm:pt>
    <dgm:pt modelId="{15D57691-74DE-4776-AD28-0F19D566989C}" type="pres">
      <dgm:prSet presAssocID="{7265E568-C716-4E59-99BB-CCCB6781AF3A}" presName="compNode" presStyleCnt="0"/>
      <dgm:spPr/>
    </dgm:pt>
    <dgm:pt modelId="{31EC8DE1-3176-40D1-A805-922B56B7F0EB}" type="pres">
      <dgm:prSet presAssocID="{7265E568-C716-4E59-99BB-CCCB6781AF3A}" presName="childRect" presStyleLbl="bgAcc1" presStyleIdx="1" presStyleCnt="3" custScaleY="147127">
        <dgm:presLayoutVars>
          <dgm:bulletEnabled val="1"/>
        </dgm:presLayoutVars>
      </dgm:prSet>
      <dgm:spPr/>
    </dgm:pt>
    <dgm:pt modelId="{151822B2-C80A-461F-BDBA-8BAF5106498B}" type="pres">
      <dgm:prSet presAssocID="{7265E568-C716-4E59-99BB-CCCB6781AF3A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0C694317-2109-45F8-BF01-FBFEC68CBCDB}" type="pres">
      <dgm:prSet presAssocID="{7265E568-C716-4E59-99BB-CCCB6781AF3A}" presName="parentRect" presStyleLbl="alignNode1" presStyleIdx="1" presStyleCnt="3"/>
      <dgm:spPr/>
    </dgm:pt>
    <dgm:pt modelId="{BDB13853-9957-42CF-B333-9B424AA7E8CF}" type="pres">
      <dgm:prSet presAssocID="{7265E568-C716-4E59-99BB-CCCB6781AF3A}" presName="adorn" presStyleLbl="fgAccFollowNode1" presStyleIdx="1" presStyleCnt="3" custLinFactNeighborX="-14427" custLinFactNeighborY="-20839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lipboard Checked outline"/>
        </a:ext>
      </dgm:extLst>
    </dgm:pt>
    <dgm:pt modelId="{95B2420E-59D3-44C8-9834-1B5E891BF07F}" type="pres">
      <dgm:prSet presAssocID="{7CCBDB6A-1F9F-4530-8C9C-E9526E5E17D0}" presName="sibTrans" presStyleLbl="sibTrans2D1" presStyleIdx="0" presStyleCnt="0"/>
      <dgm:spPr/>
    </dgm:pt>
    <dgm:pt modelId="{E5101135-AD5E-45D1-9905-396779EF8EE6}" type="pres">
      <dgm:prSet presAssocID="{1E603E86-B8BB-4A9C-9595-2ED86243B0AA}" presName="compNode" presStyleCnt="0"/>
      <dgm:spPr/>
    </dgm:pt>
    <dgm:pt modelId="{03630295-E8CD-4326-AADE-ECAAB4088B17}" type="pres">
      <dgm:prSet presAssocID="{1E603E86-B8BB-4A9C-9595-2ED86243B0AA}" presName="childRect" presStyleLbl="bgAcc1" presStyleIdx="2" presStyleCnt="3" custScaleY="137255">
        <dgm:presLayoutVars>
          <dgm:bulletEnabled val="1"/>
        </dgm:presLayoutVars>
      </dgm:prSet>
      <dgm:spPr/>
    </dgm:pt>
    <dgm:pt modelId="{3C918B6F-DA58-4E08-92A3-C9E1D5EDDBB3}" type="pres">
      <dgm:prSet presAssocID="{1E603E86-B8BB-4A9C-9595-2ED86243B0AA}" presName="parentText" presStyleLbl="node1" presStyleIdx="0" presStyleCnt="0">
        <dgm:presLayoutVars>
          <dgm:chMax val="0"/>
          <dgm:bulletEnabled val="1"/>
        </dgm:presLayoutVars>
      </dgm:prSet>
      <dgm:spPr/>
    </dgm:pt>
    <dgm:pt modelId="{B891A430-FC06-4CE5-A243-1808607EE00E}" type="pres">
      <dgm:prSet presAssocID="{1E603E86-B8BB-4A9C-9595-2ED86243B0AA}" presName="parentRect" presStyleLbl="alignNode1" presStyleIdx="2" presStyleCnt="3"/>
      <dgm:spPr/>
    </dgm:pt>
    <dgm:pt modelId="{E36C540E-E2C6-486E-8D89-B4EDF702C3EE}" type="pres">
      <dgm:prSet presAssocID="{1E603E86-B8BB-4A9C-9595-2ED86243B0AA}" presName="adorn" presStyleLbl="fgAccFollowNode1" presStyleIdx="2" presStyleCnt="3" custLinFactNeighborX="-19236" custLinFactNeighborY="-19236"/>
      <dgm:spPr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Document with solid fill"/>
        </a:ext>
      </dgm:extLst>
    </dgm:pt>
  </dgm:ptLst>
  <dgm:cxnLst>
    <dgm:cxn modelId="{A5EC2406-3BB5-4B5B-BBFC-6E70ECA0A93C}" type="presOf" srcId="{5430090A-7EB4-42C6-A191-6C70AB6B11DB}" destId="{E8BFBDA4-CDD0-4446-A70A-AE0060F85027}" srcOrd="0" destOrd="0" presId="urn:microsoft.com/office/officeart/2005/8/layout/bList2"/>
    <dgm:cxn modelId="{1AC52B1A-974F-4A7B-B2F8-BF5CB739974E}" type="presOf" srcId="{F4C5FE63-6FB9-4E0E-950C-9385E485B389}" destId="{31EC8DE1-3176-40D1-A805-922B56B7F0EB}" srcOrd="0" destOrd="0" presId="urn:microsoft.com/office/officeart/2005/8/layout/bList2"/>
    <dgm:cxn modelId="{4109B321-02BE-4600-96A5-DCA905C561C6}" srcId="{5430090A-7EB4-42C6-A191-6C70AB6B11DB}" destId="{1650E211-DC67-45B1-B0F5-05022461A8E0}" srcOrd="3" destOrd="0" parTransId="{B3927B26-8069-4173-8EFD-E7E404BFA1ED}" sibTransId="{B0900FFA-3CE6-430F-8FD5-A6F2DF71B84B}"/>
    <dgm:cxn modelId="{BD5A1A29-A7FD-4F19-9570-844C0BEE1D32}" srcId="{7265E568-C716-4E59-99BB-CCCB6781AF3A}" destId="{99C1BF84-EAB8-429A-8CB2-691B5F8FC1BA}" srcOrd="2" destOrd="0" parTransId="{CEA1C2BE-D3F0-444E-B6CA-517FB8BAD202}" sibTransId="{77ACE001-6816-443D-82FE-64BBC69DEFF4}"/>
    <dgm:cxn modelId="{E45C9F2A-C4A6-45AB-A3CF-630E95AAD590}" type="presOf" srcId="{668FDA0A-8822-46A7-8882-592CE0B4C4D5}" destId="{9D71893A-BD8C-4850-B24C-65A37F79F374}" srcOrd="0" destOrd="0" presId="urn:microsoft.com/office/officeart/2005/8/layout/bList2"/>
    <dgm:cxn modelId="{06077B2F-14ED-4E94-9A47-2043A60EA842}" type="presOf" srcId="{9D584C22-C65C-4C21-86EE-ED5ACAF48528}" destId="{31EC8DE1-3176-40D1-A805-922B56B7F0EB}" srcOrd="0" destOrd="1" presId="urn:microsoft.com/office/officeart/2005/8/layout/bList2"/>
    <dgm:cxn modelId="{88A4B531-C4A9-40CC-AB9F-4D2FCBCA5AFA}" type="presOf" srcId="{BF98B292-0ECC-4E25-8E86-51F85D8649E5}" destId="{31EC8DE1-3176-40D1-A805-922B56B7F0EB}" srcOrd="0" destOrd="4" presId="urn:microsoft.com/office/officeart/2005/8/layout/bList2"/>
    <dgm:cxn modelId="{EF49265B-CEA0-4444-BBBA-CA1E8BB94955}" srcId="{10DDE332-7835-45C0-8F61-8F1F9A09606D}" destId="{7265E568-C716-4E59-99BB-CCCB6781AF3A}" srcOrd="1" destOrd="0" parTransId="{94CB2E0D-87B9-48FA-9540-B617D2FBAE17}" sibTransId="{7CCBDB6A-1F9F-4530-8C9C-E9526E5E17D0}"/>
    <dgm:cxn modelId="{1027A75F-8577-4945-AB1D-EE07AD592A25}" srcId="{1E603E86-B8BB-4A9C-9595-2ED86243B0AA}" destId="{4DB844E8-A4F6-4C76-B6C4-A74433B3DF30}" srcOrd="1" destOrd="0" parTransId="{3971FA7E-66A4-441E-9939-C36DF1D00A06}" sibTransId="{8B03051B-1743-4DA8-BB9B-00DC5DD61474}"/>
    <dgm:cxn modelId="{9B75C345-2EF1-4AD7-B122-0B7014748D07}" type="presOf" srcId="{10DDE332-7835-45C0-8F61-8F1F9A09606D}" destId="{0C233572-4025-41AA-850F-B49E47F5A408}" srcOrd="0" destOrd="0" presId="urn:microsoft.com/office/officeart/2005/8/layout/bList2"/>
    <dgm:cxn modelId="{7831C448-9E0D-4E59-B273-CB736163CBD2}" srcId="{5430090A-7EB4-42C6-A191-6C70AB6B11DB}" destId="{3E5A7668-747A-425C-81AD-D0204AFEAF8C}" srcOrd="1" destOrd="0" parTransId="{C3BA6F4E-16EF-42E6-9518-4D191E5537B0}" sibTransId="{EC0320D2-F179-4F84-B61A-7C959D77A5D7}"/>
    <dgm:cxn modelId="{6B8BEF49-259C-4177-A1E5-C10C5B16A0DD}" srcId="{1E603E86-B8BB-4A9C-9595-2ED86243B0AA}" destId="{60ED59E4-32DE-4ACD-B5A1-E417079DDE65}" srcOrd="2" destOrd="0" parTransId="{EC80AD10-2D41-4DB6-8BF7-5E86A39AFB3C}" sibTransId="{83F82F9B-3FCC-4366-AD9F-A79120F5C834}"/>
    <dgm:cxn modelId="{416C2B4A-4C28-4799-AE26-7F0B06C1CF7F}" srcId="{7265E568-C716-4E59-99BB-CCCB6781AF3A}" destId="{BF98B292-0ECC-4E25-8E86-51F85D8649E5}" srcOrd="4" destOrd="0" parTransId="{64BA851F-F7CE-4D81-A4B2-7DBFB8A75F34}" sibTransId="{5DA0ABA5-2BE5-41BE-9E65-6743AC1CCB8A}"/>
    <dgm:cxn modelId="{F43C3372-45A1-4C07-9C07-F7F91CC63AC7}" srcId="{10DDE332-7835-45C0-8F61-8F1F9A09606D}" destId="{1E603E86-B8BB-4A9C-9595-2ED86243B0AA}" srcOrd="2" destOrd="0" parTransId="{90585E07-783C-4D75-9187-E6F9D4865614}" sibTransId="{CD910A90-A875-4466-9E37-13A0B3E20D97}"/>
    <dgm:cxn modelId="{DB5C4674-AA95-4DA6-8733-693CE2D31B0B}" srcId="{7265E568-C716-4E59-99BB-CCCB6781AF3A}" destId="{9D584C22-C65C-4C21-86EE-ED5ACAF48528}" srcOrd="1" destOrd="0" parTransId="{D9D14E04-2A29-49E8-8FF0-D579720B9EB1}" sibTransId="{269F14F9-76A4-4696-81B5-98D51D0089A8}"/>
    <dgm:cxn modelId="{C8DB9A75-F2EE-4E04-99D3-EBF22BD88CA2}" type="presOf" srcId="{BDD52193-02F4-4775-9348-C63605056779}" destId="{31EC8DE1-3176-40D1-A805-922B56B7F0EB}" srcOrd="0" destOrd="3" presId="urn:microsoft.com/office/officeart/2005/8/layout/bList2"/>
    <dgm:cxn modelId="{E855747C-475E-4CCA-B300-ECEBCFA9BF22}" type="presOf" srcId="{7CCBDB6A-1F9F-4530-8C9C-E9526E5E17D0}" destId="{95B2420E-59D3-44C8-9834-1B5E891BF07F}" srcOrd="0" destOrd="0" presId="urn:microsoft.com/office/officeart/2005/8/layout/bList2"/>
    <dgm:cxn modelId="{FF11A381-1509-4B7E-AADC-4E008A3B9EDF}" srcId="{7265E568-C716-4E59-99BB-CCCB6781AF3A}" destId="{BDD52193-02F4-4775-9348-C63605056779}" srcOrd="3" destOrd="0" parTransId="{B2398DE7-5A5C-4390-B270-29DD93D6F4ED}" sibTransId="{F9F480DA-525D-4F37-9E26-6A96459E119E}"/>
    <dgm:cxn modelId="{A4656B83-3124-41CC-9FD6-E5BE13993748}" srcId="{5430090A-7EB4-42C6-A191-6C70AB6B11DB}" destId="{668FDA0A-8822-46A7-8882-592CE0B4C4D5}" srcOrd="0" destOrd="0" parTransId="{6A19D654-E432-4EE2-B837-D5D15A2709C0}" sibTransId="{6951E1A9-DCEE-435F-8126-FEB4C77E95E0}"/>
    <dgm:cxn modelId="{F843A388-E24F-4EAB-92B6-FF5A90EE6B29}" type="presOf" srcId="{32D28217-A6D9-409D-B171-E45B7AE01BD3}" destId="{03630295-E8CD-4326-AADE-ECAAB4088B17}" srcOrd="0" destOrd="0" presId="urn:microsoft.com/office/officeart/2005/8/layout/bList2"/>
    <dgm:cxn modelId="{19F96B8D-8DA0-41E6-96EA-00E31617FD42}" srcId="{5430090A-7EB4-42C6-A191-6C70AB6B11DB}" destId="{22EBA46F-16DE-46B9-9E58-AFADFB972446}" srcOrd="2" destOrd="0" parTransId="{5068EE34-B1D8-4E83-BF0E-BBD2A3774E52}" sibTransId="{8497BE3E-C8B1-4154-8170-56B7EAB40D93}"/>
    <dgm:cxn modelId="{9168758F-EF73-4D59-9C35-660FA750204C}" type="presOf" srcId="{19644CF8-B506-461E-B559-13CDA59F780B}" destId="{9D71893A-BD8C-4850-B24C-65A37F79F374}" srcOrd="0" destOrd="4" presId="urn:microsoft.com/office/officeart/2005/8/layout/bList2"/>
    <dgm:cxn modelId="{1306FD91-1C18-42F5-A627-0814E7F2E06B}" type="presOf" srcId="{5430090A-7EB4-42C6-A191-6C70AB6B11DB}" destId="{9EB32A37-7254-4492-88B1-CD4986ABF254}" srcOrd="1" destOrd="0" presId="urn:microsoft.com/office/officeart/2005/8/layout/bList2"/>
    <dgm:cxn modelId="{C7EA9792-6330-4E47-ABCC-B4A46445F3DD}" type="presOf" srcId="{7265E568-C716-4E59-99BB-CCCB6781AF3A}" destId="{151822B2-C80A-461F-BDBA-8BAF5106498B}" srcOrd="0" destOrd="0" presId="urn:microsoft.com/office/officeart/2005/8/layout/bList2"/>
    <dgm:cxn modelId="{E97CDFA4-83F9-45F4-8FC3-5B8711F4A03B}" srcId="{7265E568-C716-4E59-99BB-CCCB6781AF3A}" destId="{F4C5FE63-6FB9-4E0E-950C-9385E485B389}" srcOrd="0" destOrd="0" parTransId="{B117954C-416D-4EBD-91D3-5175D50AD8ED}" sibTransId="{193618D7-9BEF-4E70-A613-009C9EC643D0}"/>
    <dgm:cxn modelId="{C9692AA5-77FE-49A0-919C-6BEBE5FE7D93}" srcId="{10DDE332-7835-45C0-8F61-8F1F9A09606D}" destId="{5430090A-7EB4-42C6-A191-6C70AB6B11DB}" srcOrd="0" destOrd="0" parTransId="{F77521B1-2B5A-482E-955B-2F231EC8E266}" sibTransId="{B05A1CCF-E377-411E-90FF-6BB7B0192823}"/>
    <dgm:cxn modelId="{266A9CA7-8F2F-40CE-8DBF-DE455FC18069}" type="presOf" srcId="{1E603E86-B8BB-4A9C-9595-2ED86243B0AA}" destId="{3C918B6F-DA58-4E08-92A3-C9E1D5EDDBB3}" srcOrd="0" destOrd="0" presId="urn:microsoft.com/office/officeart/2005/8/layout/bList2"/>
    <dgm:cxn modelId="{005BB4B1-F2DF-4013-8104-B602DAFCE9A6}" type="presOf" srcId="{22EBA46F-16DE-46B9-9E58-AFADFB972446}" destId="{9D71893A-BD8C-4850-B24C-65A37F79F374}" srcOrd="0" destOrd="2" presId="urn:microsoft.com/office/officeart/2005/8/layout/bList2"/>
    <dgm:cxn modelId="{2149AEBD-ED8E-4779-A6AC-AE5B82899BAE}" type="presOf" srcId="{B05A1CCF-E377-411E-90FF-6BB7B0192823}" destId="{7BCCB78C-AF83-4E12-8EA3-9013437CD461}" srcOrd="0" destOrd="0" presId="urn:microsoft.com/office/officeart/2005/8/layout/bList2"/>
    <dgm:cxn modelId="{4DE5DEBF-4728-44C1-9C59-0EE5C45C329D}" type="presOf" srcId="{99C1BF84-EAB8-429A-8CB2-691B5F8FC1BA}" destId="{31EC8DE1-3176-40D1-A805-922B56B7F0EB}" srcOrd="0" destOrd="2" presId="urn:microsoft.com/office/officeart/2005/8/layout/bList2"/>
    <dgm:cxn modelId="{F26578CE-6546-4CD4-A877-276279601F9B}" type="presOf" srcId="{7265E568-C716-4E59-99BB-CCCB6781AF3A}" destId="{0C694317-2109-45F8-BF01-FBFEC68CBCDB}" srcOrd="1" destOrd="0" presId="urn:microsoft.com/office/officeart/2005/8/layout/bList2"/>
    <dgm:cxn modelId="{67B714D2-7CD4-4B79-A6B2-6DD4BF816C8C}" type="presOf" srcId="{60ED59E4-32DE-4ACD-B5A1-E417079DDE65}" destId="{03630295-E8CD-4326-AADE-ECAAB4088B17}" srcOrd="0" destOrd="2" presId="urn:microsoft.com/office/officeart/2005/8/layout/bList2"/>
    <dgm:cxn modelId="{C82D28D4-6617-4379-8F95-713F44904984}" type="presOf" srcId="{3E5A7668-747A-425C-81AD-D0204AFEAF8C}" destId="{9D71893A-BD8C-4850-B24C-65A37F79F374}" srcOrd="0" destOrd="1" presId="urn:microsoft.com/office/officeart/2005/8/layout/bList2"/>
    <dgm:cxn modelId="{0DABBEE6-4275-4BF2-8409-920BA7A27A0D}" type="presOf" srcId="{1650E211-DC67-45B1-B0F5-05022461A8E0}" destId="{9D71893A-BD8C-4850-B24C-65A37F79F374}" srcOrd="0" destOrd="3" presId="urn:microsoft.com/office/officeart/2005/8/layout/bList2"/>
    <dgm:cxn modelId="{6E6008E9-2361-446F-BF36-DF2730F0A6E3}" srcId="{5430090A-7EB4-42C6-A191-6C70AB6B11DB}" destId="{19644CF8-B506-461E-B559-13CDA59F780B}" srcOrd="4" destOrd="0" parTransId="{4EFBEA5F-81B3-4D1E-8BC6-259746F4B463}" sibTransId="{688E0CDF-0A07-4640-8938-FB9D83EB8BE3}"/>
    <dgm:cxn modelId="{BAB1FFE9-2065-418B-A8D9-EDD57C8E8EC9}" type="presOf" srcId="{1E603E86-B8BB-4A9C-9595-2ED86243B0AA}" destId="{B891A430-FC06-4CE5-A243-1808607EE00E}" srcOrd="1" destOrd="0" presId="urn:microsoft.com/office/officeart/2005/8/layout/bList2"/>
    <dgm:cxn modelId="{CCB870F1-AE47-4142-86A0-74C644BFDF69}" type="presOf" srcId="{4DB844E8-A4F6-4C76-B6C4-A74433B3DF30}" destId="{03630295-E8CD-4326-AADE-ECAAB4088B17}" srcOrd="0" destOrd="1" presId="urn:microsoft.com/office/officeart/2005/8/layout/bList2"/>
    <dgm:cxn modelId="{27D6FFFE-0AE6-4F04-980E-1895F268AC9C}" srcId="{1E603E86-B8BB-4A9C-9595-2ED86243B0AA}" destId="{32D28217-A6D9-409D-B171-E45B7AE01BD3}" srcOrd="0" destOrd="0" parTransId="{9E176C10-9A0C-4AA5-A891-97751A71C86B}" sibTransId="{3639588F-77B3-4FD4-AFDF-E031D577F801}"/>
    <dgm:cxn modelId="{55FD97FA-ED57-4DB5-B314-F7E07FC7585F}" type="presParOf" srcId="{0C233572-4025-41AA-850F-B49E47F5A408}" destId="{727303D0-8550-4C7D-A8A2-EE9904C0380C}" srcOrd="0" destOrd="0" presId="urn:microsoft.com/office/officeart/2005/8/layout/bList2"/>
    <dgm:cxn modelId="{257DD113-8EE5-40B0-A2F5-9A638AD42372}" type="presParOf" srcId="{727303D0-8550-4C7D-A8A2-EE9904C0380C}" destId="{9D71893A-BD8C-4850-B24C-65A37F79F374}" srcOrd="0" destOrd="0" presId="urn:microsoft.com/office/officeart/2005/8/layout/bList2"/>
    <dgm:cxn modelId="{37A2E0E2-DE3C-4E5A-AA95-CDA8713100AF}" type="presParOf" srcId="{727303D0-8550-4C7D-A8A2-EE9904C0380C}" destId="{E8BFBDA4-CDD0-4446-A70A-AE0060F85027}" srcOrd="1" destOrd="0" presId="urn:microsoft.com/office/officeart/2005/8/layout/bList2"/>
    <dgm:cxn modelId="{75F716A8-C1D0-4AF8-9D6E-04736F247C39}" type="presParOf" srcId="{727303D0-8550-4C7D-A8A2-EE9904C0380C}" destId="{9EB32A37-7254-4492-88B1-CD4986ABF254}" srcOrd="2" destOrd="0" presId="urn:microsoft.com/office/officeart/2005/8/layout/bList2"/>
    <dgm:cxn modelId="{AEC92F5F-0BD7-454E-BC05-3670DF0A99FF}" type="presParOf" srcId="{727303D0-8550-4C7D-A8A2-EE9904C0380C}" destId="{BFE8B570-00FF-4914-A018-2FC941392216}" srcOrd="3" destOrd="0" presId="urn:microsoft.com/office/officeart/2005/8/layout/bList2"/>
    <dgm:cxn modelId="{4998DF6B-0B4B-4A2B-A1F3-D75ACBF42A0D}" type="presParOf" srcId="{0C233572-4025-41AA-850F-B49E47F5A408}" destId="{7BCCB78C-AF83-4E12-8EA3-9013437CD461}" srcOrd="1" destOrd="0" presId="urn:microsoft.com/office/officeart/2005/8/layout/bList2"/>
    <dgm:cxn modelId="{EAB3A4ED-2CBC-4B29-A133-E6B8B8E8BA84}" type="presParOf" srcId="{0C233572-4025-41AA-850F-B49E47F5A408}" destId="{15D57691-74DE-4776-AD28-0F19D566989C}" srcOrd="2" destOrd="0" presId="urn:microsoft.com/office/officeart/2005/8/layout/bList2"/>
    <dgm:cxn modelId="{B93D4BEF-0A34-445C-97AC-2443BB7EA8C5}" type="presParOf" srcId="{15D57691-74DE-4776-AD28-0F19D566989C}" destId="{31EC8DE1-3176-40D1-A805-922B56B7F0EB}" srcOrd="0" destOrd="0" presId="urn:microsoft.com/office/officeart/2005/8/layout/bList2"/>
    <dgm:cxn modelId="{7E384776-A275-4FE2-A62B-2DA2FAA19F8E}" type="presParOf" srcId="{15D57691-74DE-4776-AD28-0F19D566989C}" destId="{151822B2-C80A-461F-BDBA-8BAF5106498B}" srcOrd="1" destOrd="0" presId="urn:microsoft.com/office/officeart/2005/8/layout/bList2"/>
    <dgm:cxn modelId="{6ABB6408-68C8-4042-9BBA-C47551A3776E}" type="presParOf" srcId="{15D57691-74DE-4776-AD28-0F19D566989C}" destId="{0C694317-2109-45F8-BF01-FBFEC68CBCDB}" srcOrd="2" destOrd="0" presId="urn:microsoft.com/office/officeart/2005/8/layout/bList2"/>
    <dgm:cxn modelId="{85269BDF-96F6-462F-A827-636A75B2C495}" type="presParOf" srcId="{15D57691-74DE-4776-AD28-0F19D566989C}" destId="{BDB13853-9957-42CF-B333-9B424AA7E8CF}" srcOrd="3" destOrd="0" presId="urn:microsoft.com/office/officeart/2005/8/layout/bList2"/>
    <dgm:cxn modelId="{93D96339-44AA-45D9-B0DC-AADE0561CAA1}" type="presParOf" srcId="{0C233572-4025-41AA-850F-B49E47F5A408}" destId="{95B2420E-59D3-44C8-9834-1B5E891BF07F}" srcOrd="3" destOrd="0" presId="urn:microsoft.com/office/officeart/2005/8/layout/bList2"/>
    <dgm:cxn modelId="{C29532C8-1F17-482B-BDAE-1C388A7BEB0F}" type="presParOf" srcId="{0C233572-4025-41AA-850F-B49E47F5A408}" destId="{E5101135-AD5E-45D1-9905-396779EF8EE6}" srcOrd="4" destOrd="0" presId="urn:microsoft.com/office/officeart/2005/8/layout/bList2"/>
    <dgm:cxn modelId="{C0E4058F-FC86-4A50-BE00-AA75E6EB239C}" type="presParOf" srcId="{E5101135-AD5E-45D1-9905-396779EF8EE6}" destId="{03630295-E8CD-4326-AADE-ECAAB4088B17}" srcOrd="0" destOrd="0" presId="urn:microsoft.com/office/officeart/2005/8/layout/bList2"/>
    <dgm:cxn modelId="{E8CBFDDB-8CA6-4831-8366-747240D3C86E}" type="presParOf" srcId="{E5101135-AD5E-45D1-9905-396779EF8EE6}" destId="{3C918B6F-DA58-4E08-92A3-C9E1D5EDDBB3}" srcOrd="1" destOrd="0" presId="urn:microsoft.com/office/officeart/2005/8/layout/bList2"/>
    <dgm:cxn modelId="{9F4BF626-86CB-44FC-9254-D0D98C9150AB}" type="presParOf" srcId="{E5101135-AD5E-45D1-9905-396779EF8EE6}" destId="{B891A430-FC06-4CE5-A243-1808607EE00E}" srcOrd="2" destOrd="0" presId="urn:microsoft.com/office/officeart/2005/8/layout/bList2"/>
    <dgm:cxn modelId="{F5081591-14E0-480C-998B-3D4933268581}" type="presParOf" srcId="{E5101135-AD5E-45D1-9905-396779EF8EE6}" destId="{E36C540E-E2C6-486E-8D89-B4EDF702C3EE}" srcOrd="3" destOrd="0" presId="urn:microsoft.com/office/officeart/2005/8/layout/bList2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E54AE15-4CFA-4B4F-AAC3-A33B1BF130B1}" type="doc">
      <dgm:prSet loTypeId="urn:microsoft.com/office/officeart/2005/8/layout/process1" loCatId="process" qsTypeId="urn:microsoft.com/office/officeart/2005/8/quickstyle/simple1" qsCatId="simple" csTypeId="urn:microsoft.com/office/officeart/2005/8/colors/accent1_2" csCatId="accent1" phldr="1"/>
      <dgm:spPr/>
    </dgm:pt>
    <dgm:pt modelId="{63C05C10-AAAA-44FB-B100-AF6B85E6A4A4}">
      <dgm:prSet phldrT="[Text]"/>
      <dgm:spPr/>
      <dgm:t>
        <a:bodyPr/>
        <a:lstStyle/>
        <a:p>
          <a:r>
            <a:rPr lang="en-GB" dirty="0"/>
            <a:t>Data collection template issued with guidance – for completion by each Provider</a:t>
          </a:r>
        </a:p>
      </dgm:t>
    </dgm:pt>
    <dgm:pt modelId="{F3EAB781-9DC5-4795-9C85-659C0C6F2C11}" type="parTrans" cxnId="{BAABB11F-8AFE-4582-82AA-9A3F538E64C9}">
      <dgm:prSet/>
      <dgm:spPr/>
      <dgm:t>
        <a:bodyPr/>
        <a:lstStyle/>
        <a:p>
          <a:endParaRPr lang="en-GB"/>
        </a:p>
      </dgm:t>
    </dgm:pt>
    <dgm:pt modelId="{FFC62A19-D439-48B1-8192-8BD58DF2C437}" type="sibTrans" cxnId="{BAABB11F-8AFE-4582-82AA-9A3F538E64C9}">
      <dgm:prSet/>
      <dgm:spPr/>
      <dgm:t>
        <a:bodyPr/>
        <a:lstStyle/>
        <a:p>
          <a:endParaRPr lang="en-GB"/>
        </a:p>
      </dgm:t>
    </dgm:pt>
    <dgm:pt modelId="{EF259881-C361-4DD7-8D27-DFDD08D0D2E5}">
      <dgm:prSet phldrT="[Text]"/>
      <dgm:spPr/>
      <dgm:t>
        <a:bodyPr/>
        <a:lstStyle/>
        <a:p>
          <a:r>
            <a:rPr lang="en-GB" dirty="0"/>
            <a:t>Time &amp; Motion template issued with guidance resource funding </a:t>
          </a:r>
        </a:p>
      </dgm:t>
    </dgm:pt>
    <dgm:pt modelId="{2852D2F5-33A3-4D2C-B50F-0131DE72E7B1}" type="parTrans" cxnId="{5AD1BC7F-C8C4-4E57-8340-D9102EF9BBA9}">
      <dgm:prSet/>
      <dgm:spPr/>
      <dgm:t>
        <a:bodyPr/>
        <a:lstStyle/>
        <a:p>
          <a:endParaRPr lang="en-GB"/>
        </a:p>
      </dgm:t>
    </dgm:pt>
    <dgm:pt modelId="{CD74CFF6-5A52-4A04-904F-41CA17A354C0}" type="sibTrans" cxnId="{5AD1BC7F-C8C4-4E57-8340-D9102EF9BBA9}">
      <dgm:prSet/>
      <dgm:spPr/>
      <dgm:t>
        <a:bodyPr/>
        <a:lstStyle/>
        <a:p>
          <a:endParaRPr lang="en-GB"/>
        </a:p>
      </dgm:t>
    </dgm:pt>
    <dgm:pt modelId="{6E1724B3-A24F-4C33-A3A7-9DF091D92C1D}">
      <dgm:prSet phldrT="[Text]"/>
      <dgm:spPr/>
      <dgm:t>
        <a:bodyPr/>
        <a:lstStyle/>
        <a:p>
          <a:r>
            <a:rPr lang="en-GB" dirty="0"/>
            <a:t>Time &amp; Motion ‘test site’ study – SWAG to support and share learning with other sites</a:t>
          </a:r>
        </a:p>
      </dgm:t>
    </dgm:pt>
    <dgm:pt modelId="{8E55A3E9-21F3-4BC0-BFD7-1C8D7C336307}" type="parTrans" cxnId="{D36E965F-EA73-44AD-859C-91C1F74F9C40}">
      <dgm:prSet/>
      <dgm:spPr/>
      <dgm:t>
        <a:bodyPr/>
        <a:lstStyle/>
        <a:p>
          <a:endParaRPr lang="en-GB"/>
        </a:p>
      </dgm:t>
    </dgm:pt>
    <dgm:pt modelId="{D981214F-56C1-44BD-A4DE-495A9B66C959}" type="sibTrans" cxnId="{D36E965F-EA73-44AD-859C-91C1F74F9C40}">
      <dgm:prSet/>
      <dgm:spPr/>
      <dgm:t>
        <a:bodyPr/>
        <a:lstStyle/>
        <a:p>
          <a:endParaRPr lang="en-GB"/>
        </a:p>
      </dgm:t>
    </dgm:pt>
    <dgm:pt modelId="{52493543-4543-4BBB-9F76-3E48CB0F1E73}">
      <dgm:prSet phldrT="[Text]"/>
      <dgm:spPr/>
      <dgm:t>
        <a:bodyPr/>
        <a:lstStyle/>
        <a:p>
          <a:r>
            <a:rPr lang="en-GB" dirty="0"/>
            <a:t>All sites to complete Time &amp; Motion study – reporting collated into CIT/ to MSD</a:t>
          </a:r>
        </a:p>
      </dgm:t>
    </dgm:pt>
    <dgm:pt modelId="{A779603F-B1D7-4ADD-BC47-6B951439F3FA}" type="parTrans" cxnId="{9D96B285-7119-4460-A4EC-97CED5EB7C7F}">
      <dgm:prSet/>
      <dgm:spPr/>
      <dgm:t>
        <a:bodyPr/>
        <a:lstStyle/>
        <a:p>
          <a:endParaRPr lang="en-GB"/>
        </a:p>
      </dgm:t>
    </dgm:pt>
    <dgm:pt modelId="{926F5B31-86F1-4E35-B282-D03D634140C5}" type="sibTrans" cxnId="{9D96B285-7119-4460-A4EC-97CED5EB7C7F}">
      <dgm:prSet/>
      <dgm:spPr/>
      <dgm:t>
        <a:bodyPr/>
        <a:lstStyle/>
        <a:p>
          <a:endParaRPr lang="en-GB"/>
        </a:p>
      </dgm:t>
    </dgm:pt>
    <dgm:pt modelId="{0E1F9DB6-0FE7-488F-A8EC-261344D27B3F}">
      <dgm:prSet phldrT="[Text]"/>
      <dgm:spPr/>
      <dgm:t>
        <a:bodyPr/>
        <a:lstStyle/>
        <a:p>
          <a:r>
            <a:rPr lang="en-GB" dirty="0"/>
            <a:t>Provider Reports made available – Provider/ SWAG/ MSD Review Meetings Scheduled</a:t>
          </a:r>
        </a:p>
      </dgm:t>
    </dgm:pt>
    <dgm:pt modelId="{955DB90E-4FAB-4730-A6F1-A30F9586D881}" type="parTrans" cxnId="{091B16A4-2EB3-4283-81B0-B5C12FACD3D4}">
      <dgm:prSet/>
      <dgm:spPr/>
      <dgm:t>
        <a:bodyPr/>
        <a:lstStyle/>
        <a:p>
          <a:endParaRPr lang="en-GB"/>
        </a:p>
      </dgm:t>
    </dgm:pt>
    <dgm:pt modelId="{7C26098D-1408-4F36-85C0-DF33BFA4EF3E}" type="sibTrans" cxnId="{091B16A4-2EB3-4283-81B0-B5C12FACD3D4}">
      <dgm:prSet/>
      <dgm:spPr/>
      <dgm:t>
        <a:bodyPr/>
        <a:lstStyle/>
        <a:p>
          <a:endParaRPr lang="en-GB"/>
        </a:p>
      </dgm:t>
    </dgm:pt>
    <dgm:pt modelId="{5DE36A03-E725-495D-8AE4-FD822246C8F5}">
      <dgm:prSet phldrT="[Text]"/>
      <dgm:spPr/>
      <dgm:t>
        <a:bodyPr/>
        <a:lstStyle/>
        <a:p>
          <a:r>
            <a:rPr lang="en-GB" dirty="0"/>
            <a:t>Project Group Learning Session – outputs so far, next steps, out of area learning</a:t>
          </a:r>
        </a:p>
      </dgm:t>
    </dgm:pt>
    <dgm:pt modelId="{51F32211-32FE-4D57-A91F-66D14E0DA3F3}" type="parTrans" cxnId="{71D2EE62-526F-41FD-A8A9-EC7D38FE4727}">
      <dgm:prSet/>
      <dgm:spPr/>
      <dgm:t>
        <a:bodyPr/>
        <a:lstStyle/>
        <a:p>
          <a:endParaRPr lang="en-GB"/>
        </a:p>
      </dgm:t>
    </dgm:pt>
    <dgm:pt modelId="{CA94D1C8-50D1-41D5-A9F3-3F548339E032}" type="sibTrans" cxnId="{71D2EE62-526F-41FD-A8A9-EC7D38FE4727}">
      <dgm:prSet/>
      <dgm:spPr/>
      <dgm:t>
        <a:bodyPr/>
        <a:lstStyle/>
        <a:p>
          <a:endParaRPr lang="en-GB"/>
        </a:p>
      </dgm:t>
    </dgm:pt>
    <dgm:pt modelId="{33A08D56-4F4C-4FEA-848F-2B5CA912979E}">
      <dgm:prSet phldrT="[Text]"/>
      <dgm:spPr/>
      <dgm:t>
        <a:bodyPr/>
        <a:lstStyle/>
        <a:p>
          <a:r>
            <a:rPr lang="en-GB" dirty="0"/>
            <a:t>First round reporting to SWAG </a:t>
          </a:r>
          <a:r>
            <a:rPr lang="en-GB"/>
            <a:t>Delivery Group/ Repeat process!</a:t>
          </a:r>
          <a:endParaRPr lang="en-GB" dirty="0"/>
        </a:p>
      </dgm:t>
    </dgm:pt>
    <dgm:pt modelId="{FB5B0B41-7D42-48AA-BA37-428CC8A7CE01}" type="sibTrans" cxnId="{D59B348E-7F83-4C34-8D0D-976F9EC6CC1E}">
      <dgm:prSet/>
      <dgm:spPr/>
      <dgm:t>
        <a:bodyPr/>
        <a:lstStyle/>
        <a:p>
          <a:endParaRPr lang="en-GB"/>
        </a:p>
      </dgm:t>
    </dgm:pt>
    <dgm:pt modelId="{F8E79F05-9A68-415C-9B7B-48A65A9222ED}" type="parTrans" cxnId="{D59B348E-7F83-4C34-8D0D-976F9EC6CC1E}">
      <dgm:prSet/>
      <dgm:spPr/>
      <dgm:t>
        <a:bodyPr/>
        <a:lstStyle/>
        <a:p>
          <a:endParaRPr lang="en-GB"/>
        </a:p>
      </dgm:t>
    </dgm:pt>
    <dgm:pt modelId="{B5772C45-60DE-4F3D-B349-4C4B45037EA6}" type="pres">
      <dgm:prSet presAssocID="{BE54AE15-4CFA-4B4F-AAC3-A33B1BF130B1}" presName="Name0" presStyleCnt="0">
        <dgm:presLayoutVars>
          <dgm:dir/>
          <dgm:resizeHandles val="exact"/>
        </dgm:presLayoutVars>
      </dgm:prSet>
      <dgm:spPr/>
    </dgm:pt>
    <dgm:pt modelId="{E976CC6C-533B-4619-9607-EC79B981EEE7}" type="pres">
      <dgm:prSet presAssocID="{63C05C10-AAAA-44FB-B100-AF6B85E6A4A4}" presName="node" presStyleLbl="node1" presStyleIdx="0" presStyleCnt="7">
        <dgm:presLayoutVars>
          <dgm:bulletEnabled val="1"/>
        </dgm:presLayoutVars>
      </dgm:prSet>
      <dgm:spPr/>
    </dgm:pt>
    <dgm:pt modelId="{E60B3D68-C477-4CC4-BD67-1BB9EAC8E4A9}" type="pres">
      <dgm:prSet presAssocID="{FFC62A19-D439-48B1-8192-8BD58DF2C437}" presName="sibTrans" presStyleLbl="sibTrans2D1" presStyleIdx="0" presStyleCnt="6"/>
      <dgm:spPr/>
    </dgm:pt>
    <dgm:pt modelId="{8BF016DB-C66B-44CC-A76A-23EE10D6F7AA}" type="pres">
      <dgm:prSet presAssocID="{FFC62A19-D439-48B1-8192-8BD58DF2C437}" presName="connectorText" presStyleLbl="sibTrans2D1" presStyleIdx="0" presStyleCnt="6"/>
      <dgm:spPr/>
    </dgm:pt>
    <dgm:pt modelId="{5E1D2DCC-CEFC-4A89-A909-17C9EB68EA8E}" type="pres">
      <dgm:prSet presAssocID="{EF259881-C361-4DD7-8D27-DFDD08D0D2E5}" presName="node" presStyleLbl="node1" presStyleIdx="1" presStyleCnt="7">
        <dgm:presLayoutVars>
          <dgm:bulletEnabled val="1"/>
        </dgm:presLayoutVars>
      </dgm:prSet>
      <dgm:spPr/>
    </dgm:pt>
    <dgm:pt modelId="{D45B1840-71B2-4223-950B-0F8D2A38D394}" type="pres">
      <dgm:prSet presAssocID="{CD74CFF6-5A52-4A04-904F-41CA17A354C0}" presName="sibTrans" presStyleLbl="sibTrans2D1" presStyleIdx="1" presStyleCnt="6"/>
      <dgm:spPr/>
    </dgm:pt>
    <dgm:pt modelId="{A8E34BE3-2263-40A6-B856-FC411B51B4DC}" type="pres">
      <dgm:prSet presAssocID="{CD74CFF6-5A52-4A04-904F-41CA17A354C0}" presName="connectorText" presStyleLbl="sibTrans2D1" presStyleIdx="1" presStyleCnt="6"/>
      <dgm:spPr/>
    </dgm:pt>
    <dgm:pt modelId="{06543F3E-5A30-4CBC-A39A-E8E404A87556}" type="pres">
      <dgm:prSet presAssocID="{6E1724B3-A24F-4C33-A3A7-9DF091D92C1D}" presName="node" presStyleLbl="node1" presStyleIdx="2" presStyleCnt="7">
        <dgm:presLayoutVars>
          <dgm:bulletEnabled val="1"/>
        </dgm:presLayoutVars>
      </dgm:prSet>
      <dgm:spPr/>
    </dgm:pt>
    <dgm:pt modelId="{9CB21053-69AC-4FC2-BC27-12C28043CBA3}" type="pres">
      <dgm:prSet presAssocID="{D981214F-56C1-44BD-A4DE-495A9B66C959}" presName="sibTrans" presStyleLbl="sibTrans2D1" presStyleIdx="2" presStyleCnt="6"/>
      <dgm:spPr/>
    </dgm:pt>
    <dgm:pt modelId="{C41A071F-DA5B-4229-B759-B6AEDA765077}" type="pres">
      <dgm:prSet presAssocID="{D981214F-56C1-44BD-A4DE-495A9B66C959}" presName="connectorText" presStyleLbl="sibTrans2D1" presStyleIdx="2" presStyleCnt="6"/>
      <dgm:spPr/>
    </dgm:pt>
    <dgm:pt modelId="{5B519726-6FB4-4879-90F7-C2AC42FD7E79}" type="pres">
      <dgm:prSet presAssocID="{52493543-4543-4BBB-9F76-3E48CB0F1E73}" presName="node" presStyleLbl="node1" presStyleIdx="3" presStyleCnt="7">
        <dgm:presLayoutVars>
          <dgm:bulletEnabled val="1"/>
        </dgm:presLayoutVars>
      </dgm:prSet>
      <dgm:spPr/>
    </dgm:pt>
    <dgm:pt modelId="{9B20D7CD-BCAE-4D1F-B8CE-FFCAC86A3685}" type="pres">
      <dgm:prSet presAssocID="{926F5B31-86F1-4E35-B282-D03D634140C5}" presName="sibTrans" presStyleLbl="sibTrans2D1" presStyleIdx="3" presStyleCnt="6"/>
      <dgm:spPr/>
    </dgm:pt>
    <dgm:pt modelId="{6C10A115-D0A9-4D3A-B323-971CCC17B049}" type="pres">
      <dgm:prSet presAssocID="{926F5B31-86F1-4E35-B282-D03D634140C5}" presName="connectorText" presStyleLbl="sibTrans2D1" presStyleIdx="3" presStyleCnt="6"/>
      <dgm:spPr/>
    </dgm:pt>
    <dgm:pt modelId="{463B2AFA-A870-4DF1-83D1-90E9749AE798}" type="pres">
      <dgm:prSet presAssocID="{0E1F9DB6-0FE7-488F-A8EC-261344D27B3F}" presName="node" presStyleLbl="node1" presStyleIdx="4" presStyleCnt="7">
        <dgm:presLayoutVars>
          <dgm:bulletEnabled val="1"/>
        </dgm:presLayoutVars>
      </dgm:prSet>
      <dgm:spPr/>
    </dgm:pt>
    <dgm:pt modelId="{D5FD8E1B-9ECC-4F93-B19B-70CBD0CBA715}" type="pres">
      <dgm:prSet presAssocID="{7C26098D-1408-4F36-85C0-DF33BFA4EF3E}" presName="sibTrans" presStyleLbl="sibTrans2D1" presStyleIdx="4" presStyleCnt="6"/>
      <dgm:spPr/>
    </dgm:pt>
    <dgm:pt modelId="{4118290E-6077-42BE-B02A-47ECE02D7A78}" type="pres">
      <dgm:prSet presAssocID="{7C26098D-1408-4F36-85C0-DF33BFA4EF3E}" presName="connectorText" presStyleLbl="sibTrans2D1" presStyleIdx="4" presStyleCnt="6"/>
      <dgm:spPr/>
    </dgm:pt>
    <dgm:pt modelId="{5460C9B2-9367-4F19-8D36-7DE30AFBC1B2}" type="pres">
      <dgm:prSet presAssocID="{5DE36A03-E725-495D-8AE4-FD822246C8F5}" presName="node" presStyleLbl="node1" presStyleIdx="5" presStyleCnt="7">
        <dgm:presLayoutVars>
          <dgm:bulletEnabled val="1"/>
        </dgm:presLayoutVars>
      </dgm:prSet>
      <dgm:spPr/>
    </dgm:pt>
    <dgm:pt modelId="{5B6DFEBF-ECAB-449E-98E0-C50650FAFDB3}" type="pres">
      <dgm:prSet presAssocID="{CA94D1C8-50D1-41D5-A9F3-3F548339E032}" presName="sibTrans" presStyleLbl="sibTrans2D1" presStyleIdx="5" presStyleCnt="6"/>
      <dgm:spPr/>
    </dgm:pt>
    <dgm:pt modelId="{ABC76CBE-67C2-44EF-B13E-44811B8103B6}" type="pres">
      <dgm:prSet presAssocID="{CA94D1C8-50D1-41D5-A9F3-3F548339E032}" presName="connectorText" presStyleLbl="sibTrans2D1" presStyleIdx="5" presStyleCnt="6"/>
      <dgm:spPr/>
    </dgm:pt>
    <dgm:pt modelId="{AEF4D908-411A-48A0-A0F2-5ED33A262D13}" type="pres">
      <dgm:prSet presAssocID="{33A08D56-4F4C-4FEA-848F-2B5CA912979E}" presName="node" presStyleLbl="node1" presStyleIdx="6" presStyleCnt="7">
        <dgm:presLayoutVars>
          <dgm:bulletEnabled val="1"/>
        </dgm:presLayoutVars>
      </dgm:prSet>
      <dgm:spPr/>
    </dgm:pt>
  </dgm:ptLst>
  <dgm:cxnLst>
    <dgm:cxn modelId="{B0E4ED0B-F327-4DDF-A06C-B03B8518148A}" type="presOf" srcId="{BE54AE15-4CFA-4B4F-AAC3-A33B1BF130B1}" destId="{B5772C45-60DE-4F3D-B349-4C4B45037EA6}" srcOrd="0" destOrd="0" presId="urn:microsoft.com/office/officeart/2005/8/layout/process1"/>
    <dgm:cxn modelId="{CC2B3317-B3FA-48AE-989E-A2064E85D02D}" type="presOf" srcId="{926F5B31-86F1-4E35-B282-D03D634140C5}" destId="{6C10A115-D0A9-4D3A-B323-971CCC17B049}" srcOrd="1" destOrd="0" presId="urn:microsoft.com/office/officeart/2005/8/layout/process1"/>
    <dgm:cxn modelId="{BAABB11F-8AFE-4582-82AA-9A3F538E64C9}" srcId="{BE54AE15-4CFA-4B4F-AAC3-A33B1BF130B1}" destId="{63C05C10-AAAA-44FB-B100-AF6B85E6A4A4}" srcOrd="0" destOrd="0" parTransId="{F3EAB781-9DC5-4795-9C85-659C0C6F2C11}" sibTransId="{FFC62A19-D439-48B1-8192-8BD58DF2C437}"/>
    <dgm:cxn modelId="{B8CA5C20-251E-4CDA-80F2-C87114E05348}" type="presOf" srcId="{D981214F-56C1-44BD-A4DE-495A9B66C959}" destId="{9CB21053-69AC-4FC2-BC27-12C28043CBA3}" srcOrd="0" destOrd="0" presId="urn:microsoft.com/office/officeart/2005/8/layout/process1"/>
    <dgm:cxn modelId="{8709102E-31AE-465A-AD0F-BB8062FFAC0B}" type="presOf" srcId="{6E1724B3-A24F-4C33-A3A7-9DF091D92C1D}" destId="{06543F3E-5A30-4CBC-A39A-E8E404A87556}" srcOrd="0" destOrd="0" presId="urn:microsoft.com/office/officeart/2005/8/layout/process1"/>
    <dgm:cxn modelId="{4753805C-6CC4-408F-8F89-7054F34A2553}" type="presOf" srcId="{EF259881-C361-4DD7-8D27-DFDD08D0D2E5}" destId="{5E1D2DCC-CEFC-4A89-A909-17C9EB68EA8E}" srcOrd="0" destOrd="0" presId="urn:microsoft.com/office/officeart/2005/8/layout/process1"/>
    <dgm:cxn modelId="{D36E965F-EA73-44AD-859C-91C1F74F9C40}" srcId="{BE54AE15-4CFA-4B4F-AAC3-A33B1BF130B1}" destId="{6E1724B3-A24F-4C33-A3A7-9DF091D92C1D}" srcOrd="2" destOrd="0" parTransId="{8E55A3E9-21F3-4BC0-BFD7-1C8D7C336307}" sibTransId="{D981214F-56C1-44BD-A4DE-495A9B66C959}"/>
    <dgm:cxn modelId="{C79B0162-2367-4407-8146-ABB0FB54A6B2}" type="presOf" srcId="{63C05C10-AAAA-44FB-B100-AF6B85E6A4A4}" destId="{E976CC6C-533B-4619-9607-EC79B981EEE7}" srcOrd="0" destOrd="0" presId="urn:microsoft.com/office/officeart/2005/8/layout/process1"/>
    <dgm:cxn modelId="{71D2EE62-526F-41FD-A8A9-EC7D38FE4727}" srcId="{BE54AE15-4CFA-4B4F-AAC3-A33B1BF130B1}" destId="{5DE36A03-E725-495D-8AE4-FD822246C8F5}" srcOrd="5" destOrd="0" parTransId="{51F32211-32FE-4D57-A91F-66D14E0DA3F3}" sibTransId="{CA94D1C8-50D1-41D5-A9F3-3F548339E032}"/>
    <dgm:cxn modelId="{B8A29C4E-5BA9-4CCF-AD54-46E41A45987E}" type="presOf" srcId="{52493543-4543-4BBB-9F76-3E48CB0F1E73}" destId="{5B519726-6FB4-4879-90F7-C2AC42FD7E79}" srcOrd="0" destOrd="0" presId="urn:microsoft.com/office/officeart/2005/8/layout/process1"/>
    <dgm:cxn modelId="{85685159-C23B-4496-B97E-CEC5AC92461C}" type="presOf" srcId="{5DE36A03-E725-495D-8AE4-FD822246C8F5}" destId="{5460C9B2-9367-4F19-8D36-7DE30AFBC1B2}" srcOrd="0" destOrd="0" presId="urn:microsoft.com/office/officeart/2005/8/layout/process1"/>
    <dgm:cxn modelId="{C0C5597B-D398-4EB5-91C8-11346DA428B1}" type="presOf" srcId="{FFC62A19-D439-48B1-8192-8BD58DF2C437}" destId="{8BF016DB-C66B-44CC-A76A-23EE10D6F7AA}" srcOrd="1" destOrd="0" presId="urn:microsoft.com/office/officeart/2005/8/layout/process1"/>
    <dgm:cxn modelId="{5AD1BC7F-C8C4-4E57-8340-D9102EF9BBA9}" srcId="{BE54AE15-4CFA-4B4F-AAC3-A33B1BF130B1}" destId="{EF259881-C361-4DD7-8D27-DFDD08D0D2E5}" srcOrd="1" destOrd="0" parTransId="{2852D2F5-33A3-4D2C-B50F-0131DE72E7B1}" sibTransId="{CD74CFF6-5A52-4A04-904F-41CA17A354C0}"/>
    <dgm:cxn modelId="{9D96B285-7119-4460-A4EC-97CED5EB7C7F}" srcId="{BE54AE15-4CFA-4B4F-AAC3-A33B1BF130B1}" destId="{52493543-4543-4BBB-9F76-3E48CB0F1E73}" srcOrd="3" destOrd="0" parTransId="{A779603F-B1D7-4ADD-BC47-6B951439F3FA}" sibTransId="{926F5B31-86F1-4E35-B282-D03D634140C5}"/>
    <dgm:cxn modelId="{D59B348E-7F83-4C34-8D0D-976F9EC6CC1E}" srcId="{BE54AE15-4CFA-4B4F-AAC3-A33B1BF130B1}" destId="{33A08D56-4F4C-4FEA-848F-2B5CA912979E}" srcOrd="6" destOrd="0" parTransId="{F8E79F05-9A68-415C-9B7B-48A65A9222ED}" sibTransId="{FB5B0B41-7D42-48AA-BA37-428CC8A7CE01}"/>
    <dgm:cxn modelId="{A5C0308F-0A2F-487A-A4DC-1FB64707E274}" type="presOf" srcId="{FFC62A19-D439-48B1-8192-8BD58DF2C437}" destId="{E60B3D68-C477-4CC4-BD67-1BB9EAC8E4A9}" srcOrd="0" destOrd="0" presId="urn:microsoft.com/office/officeart/2005/8/layout/process1"/>
    <dgm:cxn modelId="{267FDA8F-640B-43D3-B980-9A62F617CB46}" type="presOf" srcId="{7C26098D-1408-4F36-85C0-DF33BFA4EF3E}" destId="{D5FD8E1B-9ECC-4F93-B19B-70CBD0CBA715}" srcOrd="0" destOrd="0" presId="urn:microsoft.com/office/officeart/2005/8/layout/process1"/>
    <dgm:cxn modelId="{978C7990-A387-407A-8F11-D04E504C66E2}" type="presOf" srcId="{CD74CFF6-5A52-4A04-904F-41CA17A354C0}" destId="{D45B1840-71B2-4223-950B-0F8D2A38D394}" srcOrd="0" destOrd="0" presId="urn:microsoft.com/office/officeart/2005/8/layout/process1"/>
    <dgm:cxn modelId="{A8DCEF91-3415-4E21-818D-391A05322E72}" type="presOf" srcId="{CA94D1C8-50D1-41D5-A9F3-3F548339E032}" destId="{ABC76CBE-67C2-44EF-B13E-44811B8103B6}" srcOrd="1" destOrd="0" presId="urn:microsoft.com/office/officeart/2005/8/layout/process1"/>
    <dgm:cxn modelId="{70D9B793-A4EC-45A6-BED9-04362779DDDC}" type="presOf" srcId="{0E1F9DB6-0FE7-488F-A8EC-261344D27B3F}" destId="{463B2AFA-A870-4DF1-83D1-90E9749AE798}" srcOrd="0" destOrd="0" presId="urn:microsoft.com/office/officeart/2005/8/layout/process1"/>
    <dgm:cxn modelId="{091B16A4-2EB3-4283-81B0-B5C12FACD3D4}" srcId="{BE54AE15-4CFA-4B4F-AAC3-A33B1BF130B1}" destId="{0E1F9DB6-0FE7-488F-A8EC-261344D27B3F}" srcOrd="4" destOrd="0" parTransId="{955DB90E-4FAB-4730-A6F1-A30F9586D881}" sibTransId="{7C26098D-1408-4F36-85C0-DF33BFA4EF3E}"/>
    <dgm:cxn modelId="{F89867B4-98A9-4812-BF4C-B7057A285F09}" type="presOf" srcId="{CA94D1C8-50D1-41D5-A9F3-3F548339E032}" destId="{5B6DFEBF-ECAB-449E-98E0-C50650FAFDB3}" srcOrd="0" destOrd="0" presId="urn:microsoft.com/office/officeart/2005/8/layout/process1"/>
    <dgm:cxn modelId="{410B83C3-8675-4E27-9B50-01AFAA4BBA98}" type="presOf" srcId="{33A08D56-4F4C-4FEA-848F-2B5CA912979E}" destId="{AEF4D908-411A-48A0-A0F2-5ED33A262D13}" srcOrd="0" destOrd="0" presId="urn:microsoft.com/office/officeart/2005/8/layout/process1"/>
    <dgm:cxn modelId="{5EB22FDB-A60A-42AB-AA57-8E74BE86F6E4}" type="presOf" srcId="{D981214F-56C1-44BD-A4DE-495A9B66C959}" destId="{C41A071F-DA5B-4229-B759-B6AEDA765077}" srcOrd="1" destOrd="0" presId="urn:microsoft.com/office/officeart/2005/8/layout/process1"/>
    <dgm:cxn modelId="{AB656EF5-5C7A-490E-B33B-EBDF7EA0170D}" type="presOf" srcId="{926F5B31-86F1-4E35-B282-D03D634140C5}" destId="{9B20D7CD-BCAE-4D1F-B8CE-FFCAC86A3685}" srcOrd="0" destOrd="0" presId="urn:microsoft.com/office/officeart/2005/8/layout/process1"/>
    <dgm:cxn modelId="{E0B0B3F5-4859-4ED7-B97A-95D297F1E518}" type="presOf" srcId="{CD74CFF6-5A52-4A04-904F-41CA17A354C0}" destId="{A8E34BE3-2263-40A6-B856-FC411B51B4DC}" srcOrd="1" destOrd="0" presId="urn:microsoft.com/office/officeart/2005/8/layout/process1"/>
    <dgm:cxn modelId="{9194A6F6-998D-4D72-AD0B-D8B250EF31BF}" type="presOf" srcId="{7C26098D-1408-4F36-85C0-DF33BFA4EF3E}" destId="{4118290E-6077-42BE-B02A-47ECE02D7A78}" srcOrd="1" destOrd="0" presId="urn:microsoft.com/office/officeart/2005/8/layout/process1"/>
    <dgm:cxn modelId="{DE82BB82-916A-4686-AF18-2B934DEA8313}" type="presParOf" srcId="{B5772C45-60DE-4F3D-B349-4C4B45037EA6}" destId="{E976CC6C-533B-4619-9607-EC79B981EEE7}" srcOrd="0" destOrd="0" presId="urn:microsoft.com/office/officeart/2005/8/layout/process1"/>
    <dgm:cxn modelId="{B90B6CCE-8BCA-4519-8845-324E974D4475}" type="presParOf" srcId="{B5772C45-60DE-4F3D-B349-4C4B45037EA6}" destId="{E60B3D68-C477-4CC4-BD67-1BB9EAC8E4A9}" srcOrd="1" destOrd="0" presId="urn:microsoft.com/office/officeart/2005/8/layout/process1"/>
    <dgm:cxn modelId="{FA829139-06D5-4DB7-B707-EEA21DD42913}" type="presParOf" srcId="{E60B3D68-C477-4CC4-BD67-1BB9EAC8E4A9}" destId="{8BF016DB-C66B-44CC-A76A-23EE10D6F7AA}" srcOrd="0" destOrd="0" presId="urn:microsoft.com/office/officeart/2005/8/layout/process1"/>
    <dgm:cxn modelId="{104FFAD5-FDDB-4E04-940C-3E096F5B433D}" type="presParOf" srcId="{B5772C45-60DE-4F3D-B349-4C4B45037EA6}" destId="{5E1D2DCC-CEFC-4A89-A909-17C9EB68EA8E}" srcOrd="2" destOrd="0" presId="urn:microsoft.com/office/officeart/2005/8/layout/process1"/>
    <dgm:cxn modelId="{C876026C-4B39-40EA-97F4-AFA9FE903F94}" type="presParOf" srcId="{B5772C45-60DE-4F3D-B349-4C4B45037EA6}" destId="{D45B1840-71B2-4223-950B-0F8D2A38D394}" srcOrd="3" destOrd="0" presId="urn:microsoft.com/office/officeart/2005/8/layout/process1"/>
    <dgm:cxn modelId="{D46C8855-5267-4C65-BC59-BE51C133D53B}" type="presParOf" srcId="{D45B1840-71B2-4223-950B-0F8D2A38D394}" destId="{A8E34BE3-2263-40A6-B856-FC411B51B4DC}" srcOrd="0" destOrd="0" presId="urn:microsoft.com/office/officeart/2005/8/layout/process1"/>
    <dgm:cxn modelId="{6D73D892-9405-405C-9F1D-86E2DEF350E1}" type="presParOf" srcId="{B5772C45-60DE-4F3D-B349-4C4B45037EA6}" destId="{06543F3E-5A30-4CBC-A39A-E8E404A87556}" srcOrd="4" destOrd="0" presId="urn:microsoft.com/office/officeart/2005/8/layout/process1"/>
    <dgm:cxn modelId="{E4802015-9653-4729-9B1F-123838F31770}" type="presParOf" srcId="{B5772C45-60DE-4F3D-B349-4C4B45037EA6}" destId="{9CB21053-69AC-4FC2-BC27-12C28043CBA3}" srcOrd="5" destOrd="0" presId="urn:microsoft.com/office/officeart/2005/8/layout/process1"/>
    <dgm:cxn modelId="{92B33D5E-A7B9-4985-B1B1-9234FA6A9E22}" type="presParOf" srcId="{9CB21053-69AC-4FC2-BC27-12C28043CBA3}" destId="{C41A071F-DA5B-4229-B759-B6AEDA765077}" srcOrd="0" destOrd="0" presId="urn:microsoft.com/office/officeart/2005/8/layout/process1"/>
    <dgm:cxn modelId="{0B075666-C5CE-4EDA-B346-E9F1490F323C}" type="presParOf" srcId="{B5772C45-60DE-4F3D-B349-4C4B45037EA6}" destId="{5B519726-6FB4-4879-90F7-C2AC42FD7E79}" srcOrd="6" destOrd="0" presId="urn:microsoft.com/office/officeart/2005/8/layout/process1"/>
    <dgm:cxn modelId="{35A9D7EF-CCE9-473E-A67E-C59B11B56912}" type="presParOf" srcId="{B5772C45-60DE-4F3D-B349-4C4B45037EA6}" destId="{9B20D7CD-BCAE-4D1F-B8CE-FFCAC86A3685}" srcOrd="7" destOrd="0" presId="urn:microsoft.com/office/officeart/2005/8/layout/process1"/>
    <dgm:cxn modelId="{09A559D9-D70E-426F-8541-1E78E54DCC86}" type="presParOf" srcId="{9B20D7CD-BCAE-4D1F-B8CE-FFCAC86A3685}" destId="{6C10A115-D0A9-4D3A-B323-971CCC17B049}" srcOrd="0" destOrd="0" presId="urn:microsoft.com/office/officeart/2005/8/layout/process1"/>
    <dgm:cxn modelId="{6A461E39-1F3E-41D8-922F-BE22329A1884}" type="presParOf" srcId="{B5772C45-60DE-4F3D-B349-4C4B45037EA6}" destId="{463B2AFA-A870-4DF1-83D1-90E9749AE798}" srcOrd="8" destOrd="0" presId="urn:microsoft.com/office/officeart/2005/8/layout/process1"/>
    <dgm:cxn modelId="{3540E3C6-3337-46D5-AE31-EB1AF9CCE172}" type="presParOf" srcId="{B5772C45-60DE-4F3D-B349-4C4B45037EA6}" destId="{D5FD8E1B-9ECC-4F93-B19B-70CBD0CBA715}" srcOrd="9" destOrd="0" presId="urn:microsoft.com/office/officeart/2005/8/layout/process1"/>
    <dgm:cxn modelId="{369484E9-18E5-44BA-B825-298C730B29F3}" type="presParOf" srcId="{D5FD8E1B-9ECC-4F93-B19B-70CBD0CBA715}" destId="{4118290E-6077-42BE-B02A-47ECE02D7A78}" srcOrd="0" destOrd="0" presId="urn:microsoft.com/office/officeart/2005/8/layout/process1"/>
    <dgm:cxn modelId="{564DB627-9055-4F16-BC7D-9D6FE477055B}" type="presParOf" srcId="{B5772C45-60DE-4F3D-B349-4C4B45037EA6}" destId="{5460C9B2-9367-4F19-8D36-7DE30AFBC1B2}" srcOrd="10" destOrd="0" presId="urn:microsoft.com/office/officeart/2005/8/layout/process1"/>
    <dgm:cxn modelId="{6F102F63-A245-4F32-AFAB-C844FA393B96}" type="presParOf" srcId="{B5772C45-60DE-4F3D-B349-4C4B45037EA6}" destId="{5B6DFEBF-ECAB-449E-98E0-C50650FAFDB3}" srcOrd="11" destOrd="0" presId="urn:microsoft.com/office/officeart/2005/8/layout/process1"/>
    <dgm:cxn modelId="{E956BC9D-B433-4A68-B9B2-197676F79169}" type="presParOf" srcId="{5B6DFEBF-ECAB-449E-98E0-C50650FAFDB3}" destId="{ABC76CBE-67C2-44EF-B13E-44811B8103B6}" srcOrd="0" destOrd="0" presId="urn:microsoft.com/office/officeart/2005/8/layout/process1"/>
    <dgm:cxn modelId="{B5F07242-C774-4F8C-A098-640CE3EDE652}" type="presParOf" srcId="{B5772C45-60DE-4F3D-B349-4C4B45037EA6}" destId="{AEF4D908-411A-48A0-A0F2-5ED33A262D13}" srcOrd="12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71893A-BD8C-4850-B24C-65A37F79F374}">
      <dsp:nvSpPr>
        <dsp:cNvPr id="0" name=""/>
        <dsp:cNvSpPr/>
      </dsp:nvSpPr>
      <dsp:spPr>
        <a:xfrm>
          <a:off x="7861" y="704617"/>
          <a:ext cx="3395374" cy="3688567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68580" rIns="22860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ll Provider Trusts to participat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greed timeframe for data in scop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ccess to funding for staff time to support the work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ll complete to same level dataset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>
              <a:highlight>
                <a:srgbClr val="FFFF00"/>
              </a:highlight>
            </a:rPr>
            <a:t>Deadline for return of ‘green’ information by Weds 23</a:t>
          </a:r>
          <a:r>
            <a:rPr lang="en-GB" sz="1800" kern="1200" baseline="30000" dirty="0">
              <a:highlight>
                <a:srgbClr val="FFFF00"/>
              </a:highlight>
            </a:rPr>
            <a:t>rd</a:t>
          </a:r>
          <a:r>
            <a:rPr lang="en-GB" sz="1800" kern="1200" dirty="0">
              <a:highlight>
                <a:srgbClr val="FFFF00"/>
              </a:highlight>
            </a:rPr>
            <a:t> Oct</a:t>
          </a:r>
        </a:p>
      </dsp:txBody>
      <dsp:txXfrm>
        <a:off x="87419" y="784175"/>
        <a:ext cx="3236258" cy="3609009"/>
      </dsp:txXfrm>
    </dsp:sp>
    <dsp:sp modelId="{9EB32A37-7254-4492-88B1-CD4986ABF254}">
      <dsp:nvSpPr>
        <dsp:cNvPr id="0" name=""/>
        <dsp:cNvSpPr/>
      </dsp:nvSpPr>
      <dsp:spPr>
        <a:xfrm>
          <a:off x="7861" y="3816188"/>
          <a:ext cx="3395374" cy="10898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0" rIns="3556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Data</a:t>
          </a:r>
        </a:p>
      </dsp:txBody>
      <dsp:txXfrm>
        <a:off x="7861" y="3816188"/>
        <a:ext cx="2391108" cy="1089867"/>
      </dsp:txXfrm>
    </dsp:sp>
    <dsp:sp modelId="{BFE8B570-00FF-4914-A018-2FC941392216}">
      <dsp:nvSpPr>
        <dsp:cNvPr id="0" name=""/>
        <dsp:cNvSpPr/>
      </dsp:nvSpPr>
      <dsp:spPr>
        <a:xfrm>
          <a:off x="2285472" y="3808325"/>
          <a:ext cx="1188380" cy="1188380"/>
        </a:xfrm>
        <a:prstGeom prst="ellipse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1EC8DE1-3176-40D1-A805-922B56B7F0EB}">
      <dsp:nvSpPr>
        <dsp:cNvPr id="0" name=""/>
        <dsp:cNvSpPr/>
      </dsp:nvSpPr>
      <dsp:spPr>
        <a:xfrm>
          <a:off x="3977814" y="694497"/>
          <a:ext cx="3395374" cy="3729044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68580" rIns="22860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ll Provider Trusts to participate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greed duration – e.g. several days repeated over 2 consecutive weeks – 2 or more full consecutive week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ccess to funding for staff time to support the work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Option to have onsite support from Alliance Team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>
              <a:highlight>
                <a:srgbClr val="FFFF00"/>
              </a:highlight>
            </a:rPr>
            <a:t>Deadline for completion of Time &amp; Motion element end of Nov</a:t>
          </a:r>
        </a:p>
      </dsp:txBody>
      <dsp:txXfrm>
        <a:off x="4057372" y="774055"/>
        <a:ext cx="3236258" cy="3649486"/>
      </dsp:txXfrm>
    </dsp:sp>
    <dsp:sp modelId="{0C694317-2109-45F8-BF01-FBFEC68CBCDB}">
      <dsp:nvSpPr>
        <dsp:cNvPr id="0" name=""/>
        <dsp:cNvSpPr/>
      </dsp:nvSpPr>
      <dsp:spPr>
        <a:xfrm>
          <a:off x="3977814" y="3826307"/>
          <a:ext cx="3395374" cy="10898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0" rIns="3556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Time &amp; Motion Modelling</a:t>
          </a:r>
        </a:p>
      </dsp:txBody>
      <dsp:txXfrm>
        <a:off x="3977814" y="3826307"/>
        <a:ext cx="2391108" cy="1089867"/>
      </dsp:txXfrm>
    </dsp:sp>
    <dsp:sp modelId="{BDB13853-9957-42CF-B333-9B424AA7E8CF}">
      <dsp:nvSpPr>
        <dsp:cNvPr id="0" name=""/>
        <dsp:cNvSpPr/>
      </dsp:nvSpPr>
      <dsp:spPr>
        <a:xfrm>
          <a:off x="6293524" y="3751776"/>
          <a:ext cx="1188380" cy="1188380"/>
        </a:xfrm>
        <a:prstGeom prst="ellipse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3630295-E8CD-4326-AADE-ECAAB4088B17}">
      <dsp:nvSpPr>
        <dsp:cNvPr id="0" name=""/>
        <dsp:cNvSpPr/>
      </dsp:nvSpPr>
      <dsp:spPr>
        <a:xfrm>
          <a:off x="7947767" y="757051"/>
          <a:ext cx="3395374" cy="3478831"/>
        </a:xfrm>
        <a:prstGeom prst="round2SameRect">
          <a:avLst>
            <a:gd name="adj1" fmla="val 8000"/>
            <a:gd name="adj2" fmla="val 0"/>
          </a:avLst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860" tIns="68580" rIns="22860" bIns="22860" numCol="1" spcCol="1270" anchor="t" anchorCtr="0">
          <a:noAutofit/>
        </a:bodyPr>
        <a:lstStyle/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ll Trusts to receive bespoke report and offer of Alliance/ MSD supported review meeting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/>
            <a:t>Alliance to host workshop style session for all Trusts to share findings, review and agree next steps</a:t>
          </a:r>
        </a:p>
        <a:p>
          <a:pPr marL="171450" lvl="1" indent="-171450" algn="l" defTabSz="8001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GB" sz="1800" kern="1200" dirty="0">
              <a:highlight>
                <a:srgbClr val="FFFF00"/>
              </a:highlight>
            </a:rPr>
            <a:t>Reporting collated and issued to each Provider with Provider and Alliance level recommendations end of the year/ Jan 20205</a:t>
          </a:r>
        </a:p>
      </dsp:txBody>
      <dsp:txXfrm>
        <a:off x="8027325" y="836609"/>
        <a:ext cx="3236258" cy="3399273"/>
      </dsp:txXfrm>
    </dsp:sp>
    <dsp:sp modelId="{B891A430-FC06-4CE5-A243-1808607EE00E}">
      <dsp:nvSpPr>
        <dsp:cNvPr id="0" name=""/>
        <dsp:cNvSpPr/>
      </dsp:nvSpPr>
      <dsp:spPr>
        <a:xfrm>
          <a:off x="7947767" y="3763754"/>
          <a:ext cx="3395374" cy="1089867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0" rIns="35560" bIns="0" numCol="1" spcCol="1270" anchor="ctr" anchorCtr="0">
          <a:noAutofit/>
        </a:bodyPr>
        <a:lstStyle/>
        <a:p>
          <a:pPr marL="0" lvl="0" indent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2800" kern="1200" dirty="0"/>
            <a:t>Reporting</a:t>
          </a:r>
        </a:p>
      </dsp:txBody>
      <dsp:txXfrm>
        <a:off x="7947767" y="3763754"/>
        <a:ext cx="2391108" cy="1089867"/>
      </dsp:txXfrm>
    </dsp:sp>
    <dsp:sp modelId="{E36C540E-E2C6-486E-8D89-B4EDF702C3EE}">
      <dsp:nvSpPr>
        <dsp:cNvPr id="0" name=""/>
        <dsp:cNvSpPr/>
      </dsp:nvSpPr>
      <dsp:spPr>
        <a:xfrm>
          <a:off x="10206328" y="3708272"/>
          <a:ext cx="1188380" cy="1188380"/>
        </a:xfrm>
        <a:prstGeom prst="ellipse">
          <a:avLst/>
        </a:prstGeom>
        <a:blipFill>
          <a:blip xmlns:r="http://schemas.openxmlformats.org/officeDocument/2006/relationships"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976CC6C-533B-4619-9607-EC79B981EEE7}">
      <dsp:nvSpPr>
        <dsp:cNvPr id="0" name=""/>
        <dsp:cNvSpPr/>
      </dsp:nvSpPr>
      <dsp:spPr>
        <a:xfrm>
          <a:off x="3194" y="1961111"/>
          <a:ext cx="1209786" cy="1740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Data collection template issued with guidance – for completion by each Provider</a:t>
          </a:r>
        </a:p>
      </dsp:txBody>
      <dsp:txXfrm>
        <a:off x="38627" y="1996544"/>
        <a:ext cx="1138920" cy="1669383"/>
      </dsp:txXfrm>
    </dsp:sp>
    <dsp:sp modelId="{E60B3D68-C477-4CC4-BD67-1BB9EAC8E4A9}">
      <dsp:nvSpPr>
        <dsp:cNvPr id="0" name=""/>
        <dsp:cNvSpPr/>
      </dsp:nvSpPr>
      <dsp:spPr>
        <a:xfrm>
          <a:off x="1333959" y="2681223"/>
          <a:ext cx="256474" cy="3000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1333959" y="2741228"/>
        <a:ext cx="179532" cy="180016"/>
      </dsp:txXfrm>
    </dsp:sp>
    <dsp:sp modelId="{5E1D2DCC-CEFC-4A89-A909-17C9EB68EA8E}">
      <dsp:nvSpPr>
        <dsp:cNvPr id="0" name=""/>
        <dsp:cNvSpPr/>
      </dsp:nvSpPr>
      <dsp:spPr>
        <a:xfrm>
          <a:off x="1696895" y="1961111"/>
          <a:ext cx="1209786" cy="1740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Time &amp; Motion template issued with guidance resource funding </a:t>
          </a:r>
        </a:p>
      </dsp:txBody>
      <dsp:txXfrm>
        <a:off x="1732328" y="1996544"/>
        <a:ext cx="1138920" cy="1669383"/>
      </dsp:txXfrm>
    </dsp:sp>
    <dsp:sp modelId="{D45B1840-71B2-4223-950B-0F8D2A38D394}">
      <dsp:nvSpPr>
        <dsp:cNvPr id="0" name=""/>
        <dsp:cNvSpPr/>
      </dsp:nvSpPr>
      <dsp:spPr>
        <a:xfrm>
          <a:off x="3027659" y="2681223"/>
          <a:ext cx="256474" cy="3000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3027659" y="2741228"/>
        <a:ext cx="179532" cy="180016"/>
      </dsp:txXfrm>
    </dsp:sp>
    <dsp:sp modelId="{06543F3E-5A30-4CBC-A39A-E8E404A87556}">
      <dsp:nvSpPr>
        <dsp:cNvPr id="0" name=""/>
        <dsp:cNvSpPr/>
      </dsp:nvSpPr>
      <dsp:spPr>
        <a:xfrm>
          <a:off x="3390595" y="1961111"/>
          <a:ext cx="1209786" cy="1740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Time &amp; Motion ‘test site’ study – SWAG to support and share learning with other sites</a:t>
          </a:r>
        </a:p>
      </dsp:txBody>
      <dsp:txXfrm>
        <a:off x="3426028" y="1996544"/>
        <a:ext cx="1138920" cy="1669383"/>
      </dsp:txXfrm>
    </dsp:sp>
    <dsp:sp modelId="{9CB21053-69AC-4FC2-BC27-12C28043CBA3}">
      <dsp:nvSpPr>
        <dsp:cNvPr id="0" name=""/>
        <dsp:cNvSpPr/>
      </dsp:nvSpPr>
      <dsp:spPr>
        <a:xfrm>
          <a:off x="4721360" y="2681223"/>
          <a:ext cx="256474" cy="3000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4721360" y="2741228"/>
        <a:ext cx="179532" cy="180016"/>
      </dsp:txXfrm>
    </dsp:sp>
    <dsp:sp modelId="{5B519726-6FB4-4879-90F7-C2AC42FD7E79}">
      <dsp:nvSpPr>
        <dsp:cNvPr id="0" name=""/>
        <dsp:cNvSpPr/>
      </dsp:nvSpPr>
      <dsp:spPr>
        <a:xfrm>
          <a:off x="5084296" y="1961111"/>
          <a:ext cx="1209786" cy="1740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All sites to complete Time &amp; Motion study – reporting collated into CIT/ to MSD</a:t>
          </a:r>
        </a:p>
      </dsp:txBody>
      <dsp:txXfrm>
        <a:off x="5119729" y="1996544"/>
        <a:ext cx="1138920" cy="1669383"/>
      </dsp:txXfrm>
    </dsp:sp>
    <dsp:sp modelId="{9B20D7CD-BCAE-4D1F-B8CE-FFCAC86A3685}">
      <dsp:nvSpPr>
        <dsp:cNvPr id="0" name=""/>
        <dsp:cNvSpPr/>
      </dsp:nvSpPr>
      <dsp:spPr>
        <a:xfrm>
          <a:off x="6415061" y="2681223"/>
          <a:ext cx="256474" cy="3000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6415061" y="2741228"/>
        <a:ext cx="179532" cy="180016"/>
      </dsp:txXfrm>
    </dsp:sp>
    <dsp:sp modelId="{463B2AFA-A870-4DF1-83D1-90E9749AE798}">
      <dsp:nvSpPr>
        <dsp:cNvPr id="0" name=""/>
        <dsp:cNvSpPr/>
      </dsp:nvSpPr>
      <dsp:spPr>
        <a:xfrm>
          <a:off x="6777997" y="1961111"/>
          <a:ext cx="1209786" cy="1740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Provider Reports made available – Provider/ SWAG/ MSD Review Meetings Scheduled</a:t>
          </a:r>
        </a:p>
      </dsp:txBody>
      <dsp:txXfrm>
        <a:off x="6813430" y="1996544"/>
        <a:ext cx="1138920" cy="1669383"/>
      </dsp:txXfrm>
    </dsp:sp>
    <dsp:sp modelId="{D5FD8E1B-9ECC-4F93-B19B-70CBD0CBA715}">
      <dsp:nvSpPr>
        <dsp:cNvPr id="0" name=""/>
        <dsp:cNvSpPr/>
      </dsp:nvSpPr>
      <dsp:spPr>
        <a:xfrm>
          <a:off x="8108761" y="2681223"/>
          <a:ext cx="256474" cy="3000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8108761" y="2741228"/>
        <a:ext cx="179532" cy="180016"/>
      </dsp:txXfrm>
    </dsp:sp>
    <dsp:sp modelId="{5460C9B2-9367-4F19-8D36-7DE30AFBC1B2}">
      <dsp:nvSpPr>
        <dsp:cNvPr id="0" name=""/>
        <dsp:cNvSpPr/>
      </dsp:nvSpPr>
      <dsp:spPr>
        <a:xfrm>
          <a:off x="8471697" y="1961111"/>
          <a:ext cx="1209786" cy="1740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Project Group Learning Session – outputs so far, next steps, out of area learning</a:t>
          </a:r>
        </a:p>
      </dsp:txBody>
      <dsp:txXfrm>
        <a:off x="8507130" y="1996544"/>
        <a:ext cx="1138920" cy="1669383"/>
      </dsp:txXfrm>
    </dsp:sp>
    <dsp:sp modelId="{5B6DFEBF-ECAB-449E-98E0-C50650FAFDB3}">
      <dsp:nvSpPr>
        <dsp:cNvPr id="0" name=""/>
        <dsp:cNvSpPr/>
      </dsp:nvSpPr>
      <dsp:spPr>
        <a:xfrm>
          <a:off x="9802462" y="2681223"/>
          <a:ext cx="256474" cy="300026"/>
        </a:xfrm>
        <a:prstGeom prst="righ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GB" sz="1100" kern="1200"/>
        </a:p>
      </dsp:txBody>
      <dsp:txXfrm>
        <a:off x="9802462" y="2741228"/>
        <a:ext cx="179532" cy="180016"/>
      </dsp:txXfrm>
    </dsp:sp>
    <dsp:sp modelId="{AEF4D908-411A-48A0-A0F2-5ED33A262D13}">
      <dsp:nvSpPr>
        <dsp:cNvPr id="0" name=""/>
        <dsp:cNvSpPr/>
      </dsp:nvSpPr>
      <dsp:spPr>
        <a:xfrm>
          <a:off x="10165398" y="1961111"/>
          <a:ext cx="1209786" cy="1740249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53340" rIns="53340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400" kern="1200" dirty="0"/>
            <a:t>First round reporting to SWAG </a:t>
          </a:r>
          <a:r>
            <a:rPr lang="en-GB" sz="1400" kern="1200"/>
            <a:t>Delivery Group/ Repeat process!</a:t>
          </a:r>
          <a:endParaRPr lang="en-GB" sz="1400" kern="1200" dirty="0"/>
        </a:p>
      </dsp:txBody>
      <dsp:txXfrm>
        <a:off x="10200831" y="1996544"/>
        <a:ext cx="1138920" cy="166938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bList2">
  <dgm:title val=""/>
  <dgm:desc val=""/>
  <dgm:catLst>
    <dgm:cat type="list" pri="7000"/>
    <dgm:cat type="convert" pri="16000"/>
    <dgm:cat type="picture" pri="28000"/>
    <dgm:cat type="pictureconvert" pri="28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diagram">
    <dgm:varLst>
      <dgm:dir/>
      <dgm:animLvl val="lvl"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w" for="ch" ptType="sibTrans" refType="w" refFor="ch" refForName="compNode" op="equ" fact="0.08"/>
      <dgm:constr type="sp" refType="w" refFor="ch" refForName="compNode" op="equ" fact="0.16"/>
      <dgm:constr type="primFontSz" for="des" forName="parentText" op="equ" val="65"/>
      <dgm:constr type="primFontSz" for="des" forName="childRect" op="equ" val="65"/>
    </dgm:constrLst>
    <dgm:ruleLst/>
    <dgm:forEach name="nodesForEach" axis="ch" ptType="node">
      <dgm:layoutNode name="compNode">
        <dgm:alg type="composite">
          <dgm:param type="ar" val="0.943"/>
        </dgm:alg>
        <dgm:shape xmlns:r="http://schemas.openxmlformats.org/officeDocument/2006/relationships" r:blip="">
          <dgm:adjLst/>
        </dgm:shape>
        <dgm:presOf/>
        <dgm:choose name="Name3">
          <dgm:if name="Name4" axis="self" func="var" arg="dir" op="equ" val="norm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l" for="ch" forName="childRect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l" for="ch" forName="parentText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l" for="ch" forName="parentRect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r" for="ch" forName="adorn" refType="w"/>
            </dgm:constrLst>
          </dgm:if>
          <dgm:else name="Name5">
            <dgm:constrLst>
              <dgm:constr type="w" val="1"/>
              <dgm:constr type="h" refType="w" fact="1.06"/>
              <dgm:constr type="h" for="ch" forName="childRect" refType="h" fact="0.65"/>
              <dgm:constr type="w" for="ch" forName="childRect" refType="w" fact="0.923"/>
              <dgm:constr type="r" for="ch" forName="childRect" refType="w"/>
              <dgm:constr type="t" for="ch" forName="childRect"/>
              <dgm:constr type="w" for="ch" forName="parentText" refType="w" fact="0.65"/>
              <dgm:constr type="h" for="ch" forName="parentText" refType="h" refFor="ch" refForName="childRect" fact="0.43"/>
              <dgm:constr type="r" for="ch" forName="parentText" refType="w"/>
              <dgm:constr type="t" for="ch" forName="parentText" refType="h" refFor="ch" refForName="childRect"/>
              <dgm:constr type="w" for="ch" forName="parentRect" refType="w" fact="0.923"/>
              <dgm:constr type="h" for="ch" forName="parentRect" refType="h" refFor="ch" refForName="parentText"/>
              <dgm:constr type="r" for="ch" forName="parentRect" refType="w"/>
              <dgm:constr type="t" for="ch" forName="parentRect" refType="t" refFor="ch" refForName="parentText"/>
              <dgm:constr type="w" for="ch" forName="adorn" refType="w" refFor="ch" refForName="parentRect" fact="0.35"/>
              <dgm:constr type="h" for="ch" forName="adorn" refType="w" refFor="ch" refForName="parentRect" fact="0.35"/>
              <dgm:constr type="b" for="ch" forName="adorn" refType="h"/>
              <dgm:constr type="l" for="ch" forName="adorn"/>
            </dgm:constrLst>
          </dgm:else>
        </dgm:choose>
        <dgm:ruleLst/>
        <dgm:layoutNode name="childRect" styleLbl="bgAcc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ound2SameRect" r:blip="">
            <dgm:adjLst>
              <dgm:adj idx="1" val="0.08"/>
            </dgm:adjLst>
          </dgm:shape>
          <dgm:presOf axis="des" ptType="node"/>
          <dgm:constrLst>
            <dgm:constr type="secFontSz" refType="primFontSz"/>
            <dgm:constr type="tMarg" refType="primFontSz" fact="0.3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Text">
          <dgm:varLst>
            <dgm:chMax val="0"/>
            <dgm:bulletEnabled val="1"/>
          </dgm:varLst>
          <dgm:choose name="Name6">
            <dgm:if name="Name7" func="var" arg="dir" op="equ" val="norm">
              <dgm:alg type="tx">
                <dgm:param type="parTxLTRAlign" val="l"/>
                <dgm:param type="parTxRTLAlign" val="l"/>
              </dgm:alg>
            </dgm:if>
            <dgm:else name="Name8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ect" r:blip="" zOrderOff="1" hideGeom="1">
            <dgm:adjLst/>
          </dgm:shape>
          <dgm:presOf axis="self" ptType="node"/>
          <dgm:constrLst>
            <dgm:constr type="tMarg"/>
            <dgm:constr type="bMarg"/>
            <dgm:constr type="lMarg" refType="primFontSz" fact="0.3"/>
            <dgm:constr type="rMarg" refType="primFontSz" fact="0.1"/>
          </dgm:constrLst>
          <dgm:ruleLst>
            <dgm:rule type="primFontSz" val="5" fact="NaN" max="NaN"/>
          </dgm:ruleLst>
        </dgm:layoutNode>
        <dgm:layoutNode name="parentRect" styleLbl="alignNode1">
          <dgm:alg type="sp"/>
          <dgm:shape xmlns:r="http://schemas.openxmlformats.org/officeDocument/2006/relationships" type="rect" r:blip="">
            <dgm:adjLst/>
          </dgm:shape>
          <dgm:presOf axis="self" ptType="node"/>
          <dgm:constrLst/>
          <dgm:ruleLst/>
        </dgm:layoutNode>
        <dgm:layoutNode name="adorn" styleLbl="fgAccFollowNod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w" val="1"/>
            <dgm:constr type="h" refType="w"/>
          </dgm:constrLst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439B40-5857-44FB-9456-C0C29462F39A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FC9F3E-E909-4517-864E-7E382810F66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44515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C9F3E-E909-4517-864E-7E382810F662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37925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C9F3E-E909-4517-864E-7E382810F662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95148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C9F3E-E909-4517-864E-7E382810F662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713484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C9F3E-E909-4517-864E-7E382810F662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90668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DC86E23-ED97-1A15-C8FE-BD58B4943B5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68E93E-2B0A-D58F-3963-DD661F5C675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36EE447-8C85-D9BF-C2B5-EAAF5971ED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8B0484C-49BC-A6AC-CFBB-09530CBA1C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3080CC-B12E-E424-800F-529332BD4F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850486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8A655C-D04F-98C8-F337-FC2BF70DCD4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EABCEDF-B6DD-9305-EDD7-75CBD86A1C1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25A018D-F1A8-DAF8-8881-1AAF2B61909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EB4C5B8-86AE-5627-BEB8-7B29E5C5D1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EF63C2E-25BE-F8C6-2AC2-4ED8B4BF2C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608282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67CD2BD-F304-9A54-CF5C-91E1DBC0888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20124DA-4049-75D7-FA1E-AA96C6351E8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C3D50E-710A-DBD4-8CE8-6AAFED28C6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94C6A28-C1D9-9E77-2241-A81CD088EC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6167B6-D12E-D4BA-A3F3-AE6EDB1796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113792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5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3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5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6" name="Text Placeholder 10"/>
          <p:cNvSpPr>
            <a:spLocks noGrp="1"/>
          </p:cNvSpPr>
          <p:nvPr>
            <p:ph type="body" idx="1"/>
          </p:nvPr>
        </p:nvSpPr>
        <p:spPr>
          <a:xfrm>
            <a:off x="579968" y="1568495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579968" y="2097741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10"/>
          <p:cNvSpPr>
            <a:spLocks noGrp="1"/>
          </p:cNvSpPr>
          <p:nvPr>
            <p:ph type="body" idx="17"/>
          </p:nvPr>
        </p:nvSpPr>
        <p:spPr>
          <a:xfrm>
            <a:off x="579968" y="3962071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4" name="Text Placeholder 12"/>
          <p:cNvSpPr>
            <a:spLocks noGrp="1"/>
          </p:cNvSpPr>
          <p:nvPr>
            <p:ph type="body" sz="quarter" idx="18"/>
          </p:nvPr>
        </p:nvSpPr>
        <p:spPr>
          <a:xfrm>
            <a:off x="579968" y="4491317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FD0062-EAB6-165D-1979-A827F432DB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2000" y="432000"/>
            <a:ext cx="11404154" cy="695727"/>
          </a:xfrm>
          <a:prstGeom prst="rect">
            <a:avLst/>
          </a:prstGeom>
        </p:spPr>
        <p:txBody>
          <a:bodyPr lIns="0" tIns="0" rIns="0" bIns="0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37AB0ABD-EF66-16DA-77DF-09F9E9700A4D}"/>
              </a:ext>
            </a:extLst>
          </p:cNvPr>
          <p:cNvSpPr>
            <a:spLocks noGrp="1"/>
          </p:cNvSpPr>
          <p:nvPr>
            <p:ph type="body" idx="25"/>
          </p:nvPr>
        </p:nvSpPr>
        <p:spPr>
          <a:xfrm>
            <a:off x="5018618" y="1568495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94A30EC1-2D3A-EC37-8EEE-17C600085FE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018618" y="2097741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CB4DDD6F-97D7-1AA7-D4BA-71770DEC3E4A}"/>
              </a:ext>
            </a:extLst>
          </p:cNvPr>
          <p:cNvSpPr>
            <a:spLocks noGrp="1"/>
          </p:cNvSpPr>
          <p:nvPr>
            <p:ph type="body" idx="27"/>
          </p:nvPr>
        </p:nvSpPr>
        <p:spPr>
          <a:xfrm>
            <a:off x="5018618" y="3962071"/>
            <a:ext cx="4239682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2">
            <a:extLst>
              <a:ext uri="{FF2B5EF4-FFF2-40B4-BE49-F238E27FC236}">
                <a16:creationId xmlns:a16="http://schemas.microsoft.com/office/drawing/2014/main" id="{1D8CAF51-7F99-53BA-0074-0D420D283ED1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018618" y="4491317"/>
            <a:ext cx="4239682" cy="1614466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06E89A3F-6BB7-9B19-A649-FE22B3E09BAD}"/>
              </a:ext>
            </a:extLst>
          </p:cNvPr>
          <p:cNvSpPr>
            <a:spLocks noGrp="1"/>
          </p:cNvSpPr>
          <p:nvPr>
            <p:ph type="body" idx="29"/>
          </p:nvPr>
        </p:nvSpPr>
        <p:spPr>
          <a:xfrm>
            <a:off x="9457268" y="1565365"/>
            <a:ext cx="2591857" cy="529246"/>
          </a:xfrm>
          <a:prstGeom prst="rect">
            <a:avLst/>
          </a:prstGeom>
          <a:solidFill>
            <a:schemeClr val="accent4"/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C91738D6-8A16-6F3C-7F37-4961F28F56E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7268" y="2094611"/>
            <a:ext cx="2591857" cy="4011172"/>
          </a:xfrm>
          <a:solidFill>
            <a:schemeClr val="bg1">
              <a:lumMod val="95000"/>
            </a:schemeClr>
          </a:solidFill>
        </p:spPr>
        <p:txBody>
          <a:bodyPr lIns="72000" tIns="90000" rIns="72000" bIns="72000"/>
          <a:lstStyle>
            <a:lvl1pPr>
              <a:defRPr sz="969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5660019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1222" y="179654"/>
            <a:ext cx="9969231" cy="83399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>
            <a:lvl1pPr>
              <a:defRPr lang="en-GB" dirty="0"/>
            </a:lvl1pPr>
          </a:lstStyle>
          <a:p>
            <a:pPr lvl="0"/>
            <a:r>
              <a:rPr lang="en-US"/>
              <a:t>Narrative title style (no more than two lines long)</a:t>
            </a:r>
            <a:endParaRPr lang="en-GB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10" hasCustomPrompt="1"/>
          </p:nvPr>
        </p:nvSpPr>
        <p:spPr>
          <a:xfrm>
            <a:off x="2639617" y="3210391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79967" y="1568500"/>
            <a:ext cx="1971024" cy="139306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1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14" hasCustomPrompt="1"/>
          </p:nvPr>
        </p:nvSpPr>
        <p:spPr>
          <a:xfrm>
            <a:off x="2639617" y="1568500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idx="15" hasCustomPrompt="1"/>
          </p:nvPr>
        </p:nvSpPr>
        <p:spPr>
          <a:xfrm>
            <a:off x="579967" y="3210391"/>
            <a:ext cx="1971024" cy="1393065"/>
          </a:xfrm>
          <a:prstGeom prst="rect">
            <a:avLst/>
          </a:prstGeom>
          <a:solidFill>
            <a:schemeClr val="accent4"/>
          </a:solidFill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 baseline="0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2</a:t>
            </a:r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18" hasCustomPrompt="1"/>
          </p:nvPr>
        </p:nvSpPr>
        <p:spPr>
          <a:xfrm>
            <a:off x="2639617" y="4852292"/>
            <a:ext cx="8730389" cy="1393065"/>
          </a:xfrm>
          <a:prstGeom prst="rect">
            <a:avLst/>
          </a:prstGeom>
        </p:spPr>
        <p:txBody>
          <a:bodyPr anchor="ctr"/>
          <a:lstStyle>
            <a:lvl1pPr marL="0" indent="0">
              <a:buFont typeface="Arial" panose="020B0604020202020204" pitchFamily="34" charset="0"/>
              <a:buNone/>
              <a:defRPr sz="969" b="1"/>
            </a:lvl1pPr>
            <a:lvl2pPr marL="249488" indent="-127492">
              <a:buFont typeface="Arial" panose="020B0604020202020204" pitchFamily="34" charset="0"/>
              <a:buChar char="•"/>
              <a:defRPr sz="969"/>
            </a:lvl2pPr>
            <a:lvl3pPr marL="498976" indent="-192337">
              <a:buFont typeface="Arial" panose="020B0604020202020204" pitchFamily="34" charset="0"/>
              <a:buChar char="•"/>
              <a:defRPr sz="969" baseline="0"/>
            </a:lvl3pPr>
          </a:lstStyle>
          <a:p>
            <a:pPr lvl="0"/>
            <a:r>
              <a:rPr lang="en-US"/>
              <a:t>Text box (click to edit content)</a:t>
            </a:r>
          </a:p>
          <a:p>
            <a:pPr lvl="1"/>
            <a:r>
              <a:rPr lang="en-US"/>
              <a:t>First level bullet</a:t>
            </a:r>
          </a:p>
          <a:p>
            <a:pPr lvl="2"/>
            <a:r>
              <a:rPr lang="en-US"/>
              <a:t>Second level bullet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body" idx="19" hasCustomPrompt="1"/>
          </p:nvPr>
        </p:nvSpPr>
        <p:spPr>
          <a:xfrm>
            <a:off x="579967" y="4852292"/>
            <a:ext cx="1971024" cy="1393065"/>
          </a:xfrm>
          <a:prstGeom prst="rect">
            <a:avLst/>
          </a:prstGeom>
          <a:solidFill>
            <a:schemeClr val="accent4"/>
          </a:solidFill>
        </p:spPr>
        <p:txBody>
          <a:bodyPr lIns="72000" rIns="72000" anchor="ctr"/>
          <a:lstStyle>
            <a:lvl1pPr marL="0" indent="0" algn="ctr">
              <a:spcBef>
                <a:spcPts val="0"/>
              </a:spcBef>
              <a:buNone/>
              <a:defRPr sz="1108" b="1" u="none">
                <a:solidFill>
                  <a:schemeClr val="bg1"/>
                </a:solidFill>
              </a:defRPr>
            </a:lvl1pPr>
            <a:lvl2pPr marL="316531" indent="0">
              <a:buNone/>
              <a:defRPr sz="1247">
                <a:solidFill>
                  <a:schemeClr val="tx1">
                    <a:tint val="75000"/>
                  </a:schemeClr>
                </a:solidFill>
              </a:defRPr>
            </a:lvl2pPr>
            <a:lvl3pPr marL="633062" indent="0">
              <a:buNone/>
              <a:defRPr sz="1108">
                <a:solidFill>
                  <a:schemeClr val="tx1">
                    <a:tint val="75000"/>
                  </a:schemeClr>
                </a:solidFill>
              </a:defRPr>
            </a:lvl3pPr>
            <a:lvl4pPr marL="949593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4pPr>
            <a:lvl5pPr marL="1266124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5pPr>
            <a:lvl6pPr marL="1582655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6pPr>
            <a:lvl7pPr marL="1899186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7pPr>
            <a:lvl8pPr marL="2215717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8pPr>
            <a:lvl9pPr marL="2532248" indent="0">
              <a:buNone/>
              <a:defRPr sz="96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Box 3</a:t>
            </a:r>
          </a:p>
        </p:txBody>
      </p:sp>
    </p:spTree>
    <p:extLst>
      <p:ext uri="{BB962C8B-B14F-4D97-AF65-F5344CB8AC3E}">
        <p14:creationId xmlns:p14="http://schemas.microsoft.com/office/powerpoint/2010/main" val="25340664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972" y="1593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2" y="1593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79967" y="128002"/>
            <a:ext cx="9969231" cy="831850"/>
          </a:xfrm>
        </p:spPr>
        <p:txBody>
          <a:bodyPr/>
          <a:lstStyle>
            <a:lvl1pPr>
              <a:defRPr>
                <a:solidFill>
                  <a:srgbClr val="005EB8"/>
                </a:solidFill>
              </a:defRPr>
            </a:lvl1pPr>
          </a:lstStyle>
          <a:p>
            <a:r>
              <a:rPr lang="en-US"/>
              <a:t>Slide tit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79966" y="1535593"/>
            <a:ext cx="11032068" cy="46132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/>
              <a:t>Body tex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42710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ECCEDEB-A50C-4B87-1DA1-3FB7DCA879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102054-BF36-1C1A-1C38-EEE6D9BEC18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C2F9CE1-A1DA-ABD8-7DBD-B74770EFF7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8F3E31-FAD8-ABF3-B6BC-E06C99F47F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1E100D-658C-9CE0-772E-582151BBE7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03495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6424183-690B-EA0E-CC69-F2549F84AF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599CBA4-C996-2A5C-7169-8A58A6A8EA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86E2B4-3794-83F0-12EE-6A161A690DE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17C0C2C-78E5-7B2D-EBF8-84009DBD4E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8378274-506B-CD60-AD9E-5AB77D8633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74033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B24B70C-D415-19F7-22BA-88CD95B004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4D55866-D229-3F85-929E-AB97B20CA4F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C9BA24D-E76A-C7E2-C0C1-6D67A722812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200C1FD-C159-D81F-6E96-C894E01653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896DA41-A093-B9DB-F3BB-6B0E8F1CA5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39BF167-802F-207A-E3D6-3EC287B8EB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9821354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2B2E7B-45BE-BE7E-5F48-49A6C870DD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965FB32-1ABC-E451-0854-2A03E1FF117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055D74-CD36-BC44-0833-C6972D414C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CF9EB42-422C-2A9B-56B3-24200D21707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0FC1926-FE72-B4AF-BC73-5A5D5464ECE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54A7AD6-E6AF-0E08-BB7B-C86951AA8C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23D8473-DAB5-E1A1-E11C-BD3BBAEE2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DE3D65-1E37-D915-A4BE-A553209FF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27155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CD14507-6AA6-D81D-7692-52CA047924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BE87CB-4440-8A6E-B5F2-51AD5AD3B9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7590758-0E63-D88D-645E-7C4EE560B4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E7F1DA6-A3DE-0B37-0995-ADA6453F88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915782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A32C615-0118-F728-1A3B-BD5FA2EE94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A7C6BB-D212-BFBA-FF89-77A6A3D0C8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AAF57E6-6FB5-F058-456C-C08FC99639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7917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4A7F250-82C6-23CB-0F6E-8EB53A49C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875091-38BA-D7B7-E9DA-99096683D6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EDC4935-64CC-4A2C-3165-0F22C2F207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89644D7-929D-3E94-D0F7-605077B84B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970C529-7517-1D1B-9172-3069329831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B26732E-A06A-C4C9-29A9-BC292DE960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14433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A29C6F-E19E-BF6D-C656-F9249D8875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211455B-8693-0DC6-A525-6D21779EB1E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1F0B2F3-924D-6865-7E74-04225E0E38F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24F85FB-E2FF-983F-FAE7-0DCA99AD05F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47AF9A-51DA-B351-9F40-5D4E29BFAC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9B540DC-C017-3796-E67A-98167AC5AA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242642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A20DF97-2818-9D4A-E9DA-2F9EC9B728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34AA62D-8BBC-417C-5B8B-5B75ADADFA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01BF14C-3FF9-787D-D8B3-0D78FE1EA92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78B4523-844D-4D3A-9B94-4F48FADAC380}" type="datetimeFigureOut">
              <a:rPr lang="en-GB" smtClean="0"/>
              <a:t>26/02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09BC2B4-3D7B-DB64-C209-9D60187A50E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D04BEE5-14B4-157E-9D99-F62A109DE3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08809E-C7CF-4B0F-B050-CA8B92FFB7EA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966855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692" r:id="rId7"/>
    <p:sldLayoutId id="2147483693" r:id="rId8"/>
    <p:sldLayoutId id="2147483694" r:id="rId9"/>
    <p:sldLayoutId id="2147483695" r:id="rId10"/>
    <p:sldLayoutId id="2147483696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975" y="1597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6" name="Object 1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75" y="1597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79987" y="163513"/>
            <a:ext cx="986387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9968" y="1509714"/>
            <a:ext cx="11032066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Body text</a:t>
            </a:r>
          </a:p>
          <a:p>
            <a:pPr lvl="1"/>
            <a:r>
              <a:rPr lang="en-GB"/>
              <a:t>First level</a:t>
            </a:r>
          </a:p>
          <a:p>
            <a:pPr lvl="2"/>
            <a:r>
              <a:rPr lang="en-GB"/>
              <a:t>Second level</a:t>
            </a:r>
          </a:p>
          <a:p>
            <a:pPr lvl="3"/>
            <a:r>
              <a:rPr lang="en-GB"/>
              <a:t>Third level</a:t>
            </a:r>
          </a:p>
          <a:p>
            <a:pPr lvl="4"/>
            <a:r>
              <a:rPr lang="en-GB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11385552" y="6675438"/>
            <a:ext cx="234949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615477">
              <a:spcBef>
                <a:spcPct val="0"/>
              </a:spcBef>
            </a:pPr>
            <a:endParaRPr lang="en-GB" sz="623">
              <a:solidFill>
                <a:schemeClr val="tx2"/>
              </a:solidFill>
              <a:latin typeface="+mn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9D5E7F0-D795-46C4-8AAF-F72F6CFA3AF5}"/>
              </a:ext>
            </a:extLst>
          </p:cNvPr>
          <p:cNvSpPr txBox="1"/>
          <p:nvPr userDrawn="1"/>
        </p:nvSpPr>
        <p:spPr>
          <a:xfrm>
            <a:off x="371654" y="6419190"/>
            <a:ext cx="796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 fontAlgn="auto"/>
            <a:fld id="{34F92BC6-D7C3-584B-87F2-0B845776A5AD}" type="slidenum">
              <a:rPr lang="en-US" sz="1200" smtClean="0">
                <a:solidFill>
                  <a:srgbClr val="768692">
                    <a:lumMod val="60000"/>
                    <a:lumOff val="40000"/>
                  </a:srgbClr>
                </a:solidFill>
                <a:cs typeface="Arial" panose="020B0604020202020204" pitchFamily="34" charset="0"/>
              </a:rPr>
              <a:pPr algn="l" fontAlgn="auto"/>
              <a:t>‹#›</a:t>
            </a:fld>
            <a:r>
              <a:rPr lang="en-US" sz="1200">
                <a:solidFill>
                  <a:srgbClr val="005EB8"/>
                </a:solidFill>
                <a:cs typeface="Arial" panose="020B0604020202020204" pitchFamily="34" charset="0"/>
              </a:rPr>
              <a:t> I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ACBB73FE-386C-44D4-854F-390E6EA3FCB4}"/>
              </a:ext>
            </a:extLst>
          </p:cNvPr>
          <p:cNvSpPr/>
          <p:nvPr userDrawn="1"/>
        </p:nvSpPr>
        <p:spPr bwMode="auto">
          <a:xfrm>
            <a:off x="848546" y="6398440"/>
            <a:ext cx="4489017" cy="318499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4295" tIns="74295" rIns="74295" bIns="74295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l" defTabSz="722313"/>
            <a:r>
              <a:rPr lang="en-GB" sz="1200">
                <a:solidFill>
                  <a:schemeClr val="bg1">
                    <a:lumMod val="65000"/>
                  </a:schemeClr>
                </a:solidFill>
              </a:rPr>
              <a:t>24/25 Cancer Alliance Planning Pack</a:t>
            </a:r>
            <a:endParaRPr lang="en-GB" sz="1200">
              <a:solidFill>
                <a:schemeClr val="bg1">
                  <a:lumMod val="65000"/>
                </a:schemeClr>
              </a:solidFill>
              <a:cs typeface="Arial"/>
            </a:endParaRP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645709E1-C2AA-AE8C-E607-BF44A516B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 userDrawn="1"/>
        </p:nvCxnSpPr>
        <p:spPr>
          <a:xfrm>
            <a:off x="432000" y="6336000"/>
            <a:ext cx="11376000" cy="0"/>
          </a:xfrm>
          <a:prstGeom prst="line">
            <a:avLst/>
          </a:prstGeom>
          <a:ln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3" name="Picture 2">
            <a:extLst>
              <a:ext uri="{FF2B5EF4-FFF2-40B4-BE49-F238E27FC236}">
                <a16:creationId xmlns:a16="http://schemas.microsoft.com/office/drawing/2014/main" id="{1658CDAC-CDAD-F539-C6C3-873D8E835D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 rot="10800000">
            <a:off x="9220370" y="244040"/>
            <a:ext cx="3064672" cy="187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08011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9" r:id="rId3"/>
  </p:sldLayoutIdLst>
  <p:txStyles>
    <p:titleStyle>
      <a:lvl1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5pPr>
      <a:lvl6pPr marL="316531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6pPr>
      <a:lvl7pPr marL="633062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7pPr>
      <a:lvl8pPr marL="949593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8pPr>
      <a:lvl9pPr marL="1266124" algn="l" defTabSz="615477" rtl="0" eaLnBrk="1" fontAlgn="base" hangingPunct="1">
        <a:spcBef>
          <a:spcPct val="0"/>
        </a:spcBef>
        <a:spcAft>
          <a:spcPct val="0"/>
        </a:spcAft>
        <a:defRPr sz="1661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615477" rtl="0" eaLnBrk="1" fontAlgn="base" hangingPunct="1">
        <a:spcBef>
          <a:spcPct val="20000"/>
        </a:spcBef>
        <a:spcAft>
          <a:spcPct val="0"/>
        </a:spcAft>
        <a:defRPr sz="1108" b="1">
          <a:solidFill>
            <a:schemeClr val="tx1"/>
          </a:solidFill>
          <a:latin typeface="+mn-lt"/>
          <a:ea typeface="+mn-ea"/>
          <a:cs typeface="+mn-cs"/>
        </a:defRPr>
      </a:lvl1pPr>
      <a:lvl2pPr marL="307739" indent="-153869" algn="l" defTabSz="615477" rtl="0" eaLnBrk="1" fontAlgn="base" hangingPunct="1">
        <a:spcBef>
          <a:spcPct val="20000"/>
        </a:spcBef>
        <a:spcAft>
          <a:spcPct val="0"/>
        </a:spcAft>
        <a:buClrTx/>
        <a:buChar char="•"/>
        <a:defRPr sz="1108">
          <a:solidFill>
            <a:schemeClr val="tx1"/>
          </a:solidFill>
          <a:latin typeface="+mn-lt"/>
          <a:cs typeface="+mn-cs"/>
        </a:defRPr>
      </a:lvl2pPr>
      <a:lvl3pPr marL="615477" indent="-153869" algn="l" defTabSz="615477" rtl="0" eaLnBrk="1" fontAlgn="base" hangingPunct="1">
        <a:spcBef>
          <a:spcPct val="20000"/>
        </a:spcBef>
        <a:spcAft>
          <a:spcPct val="0"/>
        </a:spcAft>
        <a:buClrTx/>
        <a:buFont typeface="Arial" panose="020B0604020202020204" pitchFamily="34" charset="0"/>
        <a:buChar char="•"/>
        <a:defRPr sz="1108">
          <a:solidFill>
            <a:schemeClr val="tx1"/>
          </a:solidFill>
          <a:latin typeface="+mn-lt"/>
          <a:cs typeface="+mn-cs"/>
        </a:defRPr>
      </a:lvl3pPr>
      <a:lvl4pPr marL="926513" indent="-157167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4pPr>
      <a:lvl5pPr marL="1383725" indent="-152771" algn="l" defTabSz="615477" rtl="0" eaLnBrk="1" fontAlgn="base" hangingPunct="1">
        <a:spcBef>
          <a:spcPct val="20000"/>
        </a:spcBef>
        <a:spcAft>
          <a:spcPct val="0"/>
        </a:spcAft>
        <a:buClrTx/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5pPr>
      <a:lvl6pPr marL="1700255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6pPr>
      <a:lvl7pPr marL="2016786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7pPr>
      <a:lvl8pPr marL="233331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8pPr>
      <a:lvl9pPr marL="2649848" indent="-152771" algn="l" defTabSz="615477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108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1pPr>
      <a:lvl2pPr marL="316531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2pPr>
      <a:lvl3pPr marL="633062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3pPr>
      <a:lvl4pPr marL="949593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4pPr>
      <a:lvl5pPr marL="1266124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5pPr>
      <a:lvl6pPr marL="1582655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6pPr>
      <a:lvl7pPr marL="1899186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7pPr>
      <a:lvl8pPr marL="2215717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8pPr>
      <a:lvl9pPr marL="2532248" algn="l" defTabSz="633062" rtl="0" eaLnBrk="1" latinLnBrk="0" hangingPunct="1">
        <a:defRPr sz="124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hyperlink" Target="https://www.msd-uk.com/partnerships/collaborative-working/#pan-tumour:~:text=Project%20Title-,SACT%20Demand%20and%20Capacity%20planning%20across%20hospitals%20within%20SWAG%20Cancer%20Alliance,-Organisations%20involved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.pn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1E6844-0D30-A55F-BB88-8F6ED7B543B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48492"/>
            <a:ext cx="9144000" cy="2387600"/>
          </a:xfrm>
        </p:spPr>
        <p:txBody>
          <a:bodyPr>
            <a:normAutofit fontScale="90000"/>
          </a:bodyPr>
          <a:lstStyle/>
          <a:p>
            <a:pPr algn="l"/>
            <a:r>
              <a:rPr lang="en-GB" b="1" dirty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SWAG Cancer Alliance:  SACT Capacity and Demand Project Group</a:t>
            </a:r>
            <a:endParaRPr lang="en-GB" dirty="0">
              <a:latin typeface="Aptos" panose="020B000402020202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E320ED-76FD-B5EC-C9F1-E277BF083E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86407"/>
            <a:ext cx="9144000" cy="1655762"/>
          </a:xfr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Update for SACT CAG, Fri 18</a:t>
            </a:r>
            <a:r>
              <a:rPr kumimoji="0" lang="en-GB" sz="2400" b="1" i="0" u="none" strike="noStrike" kern="1200" cap="none" spc="0" normalizeH="0" baseline="3000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th</a:t>
            </a:r>
            <a:r>
              <a:rPr kumimoji="0" lang="en-GB" sz="2400" b="1" i="0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75000"/>
                  </a:srgbClr>
                </a:solidFill>
                <a:effectLst/>
                <a:uLnTx/>
                <a:uFillTx/>
                <a:latin typeface="Aptos" panose="020B0004020202020204" pitchFamily="34" charset="0"/>
                <a:cs typeface="Arial"/>
              </a:rPr>
              <a:t> Oct 2024</a:t>
            </a:r>
          </a:p>
          <a:p>
            <a:endParaRPr lang="en-GB" dirty="0"/>
          </a:p>
        </p:txBody>
      </p:sp>
      <p:pic>
        <p:nvPicPr>
          <p:cNvPr id="4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277A64FA-F05B-EDC2-F14C-C5D0422E0F6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9373" y="132238"/>
            <a:ext cx="1828804" cy="74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03963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32426D00-D8E8-1368-949F-E9162C8EA039}"/>
              </a:ext>
            </a:extLst>
          </p:cNvPr>
          <p:cNvSpPr txBox="1"/>
          <p:nvPr/>
        </p:nvSpPr>
        <p:spPr>
          <a:xfrm>
            <a:off x="421240" y="1469203"/>
            <a:ext cx="9637160" cy="52937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GB" sz="2000" dirty="0"/>
              <a:t>Increasing number of patients – including patients receiving maintenance treatments</a:t>
            </a:r>
          </a:p>
          <a:p>
            <a:pPr marL="285750" lvl="0" indent="-285750">
              <a:buFont typeface="Arial"/>
              <a:buChar char="•"/>
            </a:pPr>
            <a:r>
              <a:rPr lang="en-GB" sz="2000" dirty="0"/>
              <a:t>Increasing number of complex regimes</a:t>
            </a:r>
          </a:p>
          <a:p>
            <a:pPr marL="285750" lvl="0" indent="-285750">
              <a:buFont typeface="Arial"/>
              <a:buChar char="•"/>
            </a:pPr>
            <a:r>
              <a:rPr lang="en-GB" sz="2000" dirty="0"/>
              <a:t>Loss of experienced SACT nurses and lack of experienced nurse with complex regimes </a:t>
            </a:r>
          </a:p>
          <a:p>
            <a:pPr marL="285750" lvl="0" indent="-285750">
              <a:buFont typeface="Arial"/>
              <a:buChar char="•"/>
            </a:pPr>
            <a:r>
              <a:rPr lang="en-GB" sz="2000" dirty="0"/>
              <a:t>Pharmacy staff shortages</a:t>
            </a:r>
          </a:p>
          <a:p>
            <a:pPr marL="285750" indent="-285750">
              <a:buFont typeface="Arial"/>
              <a:buChar char="•"/>
            </a:pPr>
            <a:r>
              <a:rPr lang="en-GB" sz="2000" dirty="0"/>
              <a:t>Pharmacy and medical provision, limiting some expansion such as administration of treatments at weekends and increased treatments in the satellite units.</a:t>
            </a:r>
          </a:p>
          <a:p>
            <a:pPr marL="285750" lvl="0" indent="-285750">
              <a:buFont typeface="Arial"/>
              <a:buChar char="•"/>
            </a:pPr>
            <a:r>
              <a:rPr lang="en-GB" sz="2000" dirty="0"/>
              <a:t>Incorrect prescriptions/chasing prescriptions/decisions</a:t>
            </a:r>
          </a:p>
          <a:p>
            <a:pPr marL="285750" lvl="0" indent="-285750">
              <a:buFont typeface="Arial"/>
              <a:buChar char="•"/>
            </a:pPr>
            <a:r>
              <a:rPr lang="en-GB" sz="2000" dirty="0"/>
              <a:t>Bloods results not in a timely manner</a:t>
            </a:r>
          </a:p>
          <a:p>
            <a:pPr marL="285750" lvl="0" indent="-285750">
              <a:buFont typeface="Arial"/>
              <a:buChar char="•"/>
            </a:pPr>
            <a:r>
              <a:rPr lang="en-GB" sz="2000" dirty="0"/>
              <a:t>High levels of sickness absence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High turnover of staff in chemo day unit due to the availability of other opportunities within the centre such as  CNS roles, trials, Practice educators and Advanced practitioners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SACT administration is such a specialised role, this results in a significant training need and supernumerary period for new starters on the uni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2000" dirty="0"/>
              <a:t>Physical space and chair capacity within the services, resulting in cramped units and limited opportunity for expansion in some of the current buildings</a:t>
            </a:r>
          </a:p>
          <a:p>
            <a:pPr lvl="0"/>
            <a:endParaRPr lang="en-GB" sz="1800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88ED97-9902-DECE-9390-BFD7F7341A71}"/>
              </a:ext>
            </a:extLst>
          </p:cNvPr>
          <p:cNvSpPr txBox="1"/>
          <p:nvPr/>
        </p:nvSpPr>
        <p:spPr>
          <a:xfrm>
            <a:off x="706350" y="22653"/>
            <a:ext cx="8242442" cy="144655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4400" b="1" dirty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Examples of common challenges across the region: </a:t>
            </a:r>
          </a:p>
        </p:txBody>
      </p:sp>
      <p:pic>
        <p:nvPicPr>
          <p:cNvPr id="14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06727369-E111-E9B0-89B1-FC34E198F1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572" y="145765"/>
            <a:ext cx="1828804" cy="74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99814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5453827-3A05-333D-8F08-897D941CA99C}"/>
              </a:ext>
            </a:extLst>
          </p:cNvPr>
          <p:cNvSpPr txBox="1"/>
          <p:nvPr/>
        </p:nvSpPr>
        <p:spPr>
          <a:xfrm>
            <a:off x="573640" y="1419715"/>
            <a:ext cx="11044719" cy="4985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>
                <a:latin typeface="Calibri"/>
              </a:rPr>
              <a:t>The utilisation of satellite servic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>
                <a:latin typeface="Calibri"/>
              </a:rPr>
              <a:t>Band 5- Band 6 progression to improve staff retention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b="0" i="0" u="none" strike="noStrike" noProof="0" dirty="0">
                <a:latin typeface="Calibri"/>
              </a:rPr>
              <a:t>Implementation of  delivering more medication at home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b="0" i="0" u="none" strike="noStrike" noProof="0" dirty="0">
                <a:latin typeface="Calibri"/>
              </a:rPr>
              <a:t>Completing SACT nurse sign off in a timely manner (practice facilitator)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>
                <a:latin typeface="Calibri"/>
              </a:rPr>
              <a:t>Capacity management across two Trust site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Time and motion study assess nurse time requirements for SACT appointment times. 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Work in place to transition more inpatient SACT regimens to day case to improve patient experience and reduce treatment delays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Project in place scoping ambulatory care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Use of Sub-cutaneous SACT where available so that it can be given in injections lists rather than the Chemo day unit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Patients are taught to self-administer Denosumab to reduce hospital visits, improve patient experience and release injection list capacity</a:t>
            </a:r>
          </a:p>
          <a:p>
            <a:pPr marL="342900" indent="-342900">
              <a:buFont typeface="Wingdings" panose="05000000000000000000" pitchFamily="2" charset="2"/>
              <a:buChar char="Ø"/>
            </a:pPr>
            <a:r>
              <a:rPr lang="en-GB" sz="2000" dirty="0"/>
              <a:t>All treatment administration and nursing and medical notes are completed electronically, so we do not use paper patient records on our day units</a:t>
            </a:r>
          </a:p>
          <a:p>
            <a:pPr marL="171450" indent="-171450">
              <a:buFont typeface="Arial"/>
              <a:buChar char="•"/>
            </a:pPr>
            <a:endParaRPr lang="en-GB" sz="1800" dirty="0">
              <a:latin typeface="Calibri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7C1EC8DC-9784-9502-7A4C-D58493FF4EB8}"/>
              </a:ext>
            </a:extLst>
          </p:cNvPr>
          <p:cNvSpPr txBox="1">
            <a:spLocks/>
          </p:cNvSpPr>
          <p:nvPr/>
        </p:nvSpPr>
        <p:spPr>
          <a:xfrm>
            <a:off x="658367" y="145765"/>
            <a:ext cx="10875264" cy="1325563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Examples of best practice already </a:t>
            </a:r>
          </a:p>
          <a:p>
            <a:r>
              <a:rPr lang="en-GB" b="1" dirty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in progress: </a:t>
            </a:r>
          </a:p>
          <a:p>
            <a:endParaRPr lang="en-GB" b="1" dirty="0">
              <a:solidFill>
                <a:schemeClr val="accent1"/>
              </a:solidFill>
              <a:latin typeface="Aptos" panose="020B0004020202020204" pitchFamily="34" charset="0"/>
              <a:cs typeface="Arial" panose="020B0604020202020204" pitchFamily="34" charset="0"/>
            </a:endParaRPr>
          </a:p>
          <a:p>
            <a:endParaRPr lang="en-GB" b="1" dirty="0">
              <a:solidFill>
                <a:schemeClr val="accent1"/>
              </a:solidFill>
              <a:latin typeface="Aptos" panose="020B0004020202020204" pitchFamily="34" charset="0"/>
              <a:cs typeface="Arial" panose="020B0604020202020204" pitchFamily="34" charset="0"/>
            </a:endParaRPr>
          </a:p>
          <a:p>
            <a:endParaRPr lang="en-GB" b="1" dirty="0">
              <a:solidFill>
                <a:schemeClr val="accent1"/>
              </a:solidFill>
              <a:latin typeface="Aptos" panose="020B0004020202020204" pitchFamily="34" charset="0"/>
              <a:cs typeface="Arial" panose="020B0604020202020204" pitchFamily="34" charset="0"/>
            </a:endParaRPr>
          </a:p>
          <a:p>
            <a:endParaRPr lang="en-GB" b="1" dirty="0">
              <a:solidFill>
                <a:schemeClr val="accent1"/>
              </a:solidFill>
              <a:latin typeface="Aptos" panose="020B00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C89CCF7E-8FBB-9519-422D-A9A66BC995F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10572" y="145765"/>
            <a:ext cx="1828804" cy="74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818283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76EAF27-21EF-4D04-6D8F-0EC7794E596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7583" y="668624"/>
            <a:ext cx="10515600" cy="1325563"/>
          </a:xfrm>
        </p:spPr>
        <p:txBody>
          <a:bodyPr>
            <a:normAutofit fontScale="90000"/>
          </a:bodyPr>
          <a:lstStyle/>
          <a:p>
            <a:r>
              <a:rPr lang="en-GB" sz="4900" b="1" dirty="0">
                <a:solidFill>
                  <a:schemeClr val="accent1"/>
                </a:solidFill>
                <a:latin typeface="Aptos" panose="020B0004020202020204" pitchFamily="34" charset="0"/>
                <a:cs typeface="Arial"/>
              </a:rPr>
              <a:t>Overview of SACT Capacity and </a:t>
            </a:r>
            <a:br>
              <a:rPr lang="en-GB" sz="4900" b="1" dirty="0">
                <a:solidFill>
                  <a:schemeClr val="accent1"/>
                </a:solidFill>
                <a:latin typeface="Aptos" panose="020B0004020202020204" pitchFamily="34" charset="0"/>
                <a:cs typeface="Arial"/>
              </a:rPr>
            </a:br>
            <a:r>
              <a:rPr lang="en-GB" sz="4900" b="1" dirty="0">
                <a:solidFill>
                  <a:schemeClr val="accent1"/>
                </a:solidFill>
                <a:latin typeface="Aptos" panose="020B0004020202020204" pitchFamily="34" charset="0"/>
                <a:cs typeface="Arial"/>
              </a:rPr>
              <a:t>Demand modelling requirement</a:t>
            </a:r>
            <a:br>
              <a:rPr lang="en-GB" sz="4400" dirty="0">
                <a:solidFill>
                  <a:srgbClr val="4472C4">
                    <a:lumMod val="75000"/>
                  </a:srgbClr>
                </a:solidFill>
                <a:latin typeface="Aptos" panose="020B0004020202020204" pitchFamily="34" charset="0"/>
                <a:cs typeface="Arial"/>
              </a:rPr>
            </a:br>
            <a:endParaRPr lang="en-GB" dirty="0"/>
          </a:p>
        </p:txBody>
      </p:sp>
      <p:pic>
        <p:nvPicPr>
          <p:cNvPr id="4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FEF20F1-6E1A-80F9-D538-0BAF76C80D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5613" y="295244"/>
            <a:ext cx="1828804" cy="746762"/>
          </a:xfrm>
          <a:prstGeom prst="rect">
            <a:avLst/>
          </a:prstGeom>
        </p:spPr>
      </p:pic>
      <p:sp>
        <p:nvSpPr>
          <p:cNvPr id="3" name="Subtitle 2">
            <a:extLst>
              <a:ext uri="{FF2B5EF4-FFF2-40B4-BE49-F238E27FC236}">
                <a16:creationId xmlns:a16="http://schemas.microsoft.com/office/drawing/2014/main" id="{7D1680B3-CDBD-5004-3F54-A2C970799995}"/>
              </a:ext>
            </a:extLst>
          </p:cNvPr>
          <p:cNvSpPr txBox="1">
            <a:spLocks/>
          </p:cNvSpPr>
          <p:nvPr/>
        </p:nvSpPr>
        <p:spPr>
          <a:xfrm>
            <a:off x="840420" y="1994187"/>
            <a:ext cx="9144000" cy="347445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id="{DD90BC9F-0954-27AC-2EB3-B733E4AEE6D7}"/>
              </a:ext>
            </a:extLst>
          </p:cNvPr>
          <p:cNvSpPr txBox="1">
            <a:spLocks/>
          </p:cNvSpPr>
          <p:nvPr/>
        </p:nvSpPr>
        <p:spPr>
          <a:xfrm>
            <a:off x="571040" y="1691771"/>
            <a:ext cx="10780540" cy="467170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>
              <a:lnSpc>
                <a:spcPct val="100000"/>
              </a:lnSpc>
              <a:spcBef>
                <a:spcPts val="0"/>
              </a:spcBef>
              <a:defRPr/>
            </a:pPr>
            <a:r>
              <a:rPr lang="en-GB" sz="2400" dirty="0">
                <a:latin typeface="Aptos" panose="020B0004020202020204" pitchFamily="34" charset="0"/>
                <a:cs typeface="Arial"/>
              </a:rPr>
              <a:t>National Cancer Alliance Planning Pack requirement for all Alliances in 2024/25 – </a:t>
            </a:r>
          </a:p>
          <a:p>
            <a:pPr defTabSz="457200">
              <a:lnSpc>
                <a:spcPct val="100000"/>
              </a:lnSpc>
              <a:spcBef>
                <a:spcPts val="0"/>
              </a:spcBef>
              <a:defRPr/>
            </a:pPr>
            <a:endParaRPr lang="en-GB" sz="2400" dirty="0">
              <a:latin typeface="Aptos" panose="020B0004020202020204" pitchFamily="34" charset="0"/>
              <a:cs typeface="Arial"/>
            </a:endParaRPr>
          </a:p>
          <a:p>
            <a:pPr marL="457200" lvl="1" indent="0" defTabSz="457200">
              <a:lnSpc>
                <a:spcPct val="100000"/>
              </a:lnSpc>
              <a:spcBef>
                <a:spcPts val="0"/>
              </a:spcBef>
              <a:buNone/>
              <a:defRPr/>
            </a:pPr>
            <a:r>
              <a:rPr lang="en-GB" i="1" dirty="0">
                <a:effectLst/>
                <a:latin typeface="Aptos" panose="020B0004020202020204" pitchFamily="34" charset="0"/>
                <a:ea typeface="Calibri" panose="020F0502020204030204" pitchFamily="34" charset="0"/>
              </a:rPr>
              <a:t>SACT delivery remains a challenge across the country. Cancer Alliance to lead a bi-annual evaluation of demand and capacity across the footprint that will enable Alliances to identify any challenges to delivery. </a:t>
            </a:r>
          </a:p>
          <a:p>
            <a:pPr marL="457200" lvl="1" indent="0" defTabSz="45720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GB" i="1" dirty="0">
              <a:latin typeface="Aptos" panose="020B0004020202020204" pitchFamily="34" charset="0"/>
              <a:cs typeface="Arial"/>
            </a:endParaRPr>
          </a:p>
          <a:p>
            <a:r>
              <a:rPr lang="en-GB" sz="2400" dirty="0">
                <a:latin typeface="Aptos" panose="020B0004020202020204" pitchFamily="34" charset="0"/>
              </a:rPr>
              <a:t>Carry out demand and capacity assessment of SACT services </a:t>
            </a:r>
          </a:p>
          <a:p>
            <a:r>
              <a:rPr lang="en-GB" sz="2400" dirty="0">
                <a:latin typeface="Aptos" panose="020B0004020202020204" pitchFamily="34" charset="0"/>
              </a:rPr>
              <a:t>Identify any challenges to SACT delivery and escalate appropriately – e.g. variation in Oncology DNA rates across our geography</a:t>
            </a:r>
          </a:p>
          <a:p>
            <a:r>
              <a:rPr lang="en-GB" sz="2400" dirty="0">
                <a:latin typeface="Aptos" panose="020B0004020202020204" pitchFamily="34" charset="0"/>
              </a:rPr>
              <a:t>Share good practices and challenges within the region and with other Cancer Alliances.</a:t>
            </a:r>
          </a:p>
        </p:txBody>
      </p:sp>
    </p:spTree>
    <p:extLst>
      <p:ext uri="{BB962C8B-B14F-4D97-AF65-F5344CB8AC3E}">
        <p14:creationId xmlns:p14="http://schemas.microsoft.com/office/powerpoint/2010/main" val="41649269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3395154-7CB0-1546-1321-8E7DCC2C228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72549" y="189868"/>
            <a:ext cx="8812335" cy="6478264"/>
          </a:xfrm>
          <a:prstGeom prst="rect">
            <a:avLst/>
          </a:prstGeom>
        </p:spPr>
      </p:pic>
      <p:pic>
        <p:nvPicPr>
          <p:cNvPr id="4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196F932-3EE0-41A6-EEE3-2461166D9E6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2" y="189868"/>
            <a:ext cx="1828804" cy="74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176839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C367988-3D0C-7866-22C7-F2C997EC58F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43027" y="336447"/>
            <a:ext cx="8796337" cy="5794688"/>
          </a:xfrm>
          <a:prstGeom prst="rect">
            <a:avLst/>
          </a:prstGeom>
        </p:spPr>
      </p:pic>
      <p:pic>
        <p:nvPicPr>
          <p:cNvPr id="4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D84908F-8615-3736-3574-1A39976B8C4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2" y="189868"/>
            <a:ext cx="1828804" cy="7467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DE39FA2-0826-D06C-2B4A-D4AD063D44F4}"/>
              </a:ext>
            </a:extLst>
          </p:cNvPr>
          <p:cNvSpPr txBox="1"/>
          <p:nvPr/>
        </p:nvSpPr>
        <p:spPr>
          <a:xfrm>
            <a:off x="654977" y="6226407"/>
            <a:ext cx="6097712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dirty="0">
                <a:hlinkClick r:id="rId4"/>
              </a:rPr>
              <a:t>Collaborative Working - MSD UK (msd-uk.com)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852341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E2FC017-6739-0207-F53E-DCB76E6307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2" y="189868"/>
            <a:ext cx="1828804" cy="746762"/>
          </a:xfrm>
          <a:prstGeom prst="rect">
            <a:avLst/>
          </a:prstGeom>
        </p:spPr>
      </p:pic>
      <p:graphicFrame>
        <p:nvGraphicFramePr>
          <p:cNvPr id="4" name="Diagram 3">
            <a:extLst>
              <a:ext uri="{FF2B5EF4-FFF2-40B4-BE49-F238E27FC236}">
                <a16:creationId xmlns:a16="http://schemas.microsoft.com/office/drawing/2014/main" id="{520A4821-EF85-F824-4F50-35B89FEF3AF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114884035"/>
              </p:ext>
            </p:extLst>
          </p:nvPr>
        </p:nvGraphicFramePr>
        <p:xfrm>
          <a:off x="280416" y="785830"/>
          <a:ext cx="11631168" cy="588230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10879591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BE1636-9BEA-0F4A-BC4F-364173E0EB9F}"/>
              </a:ext>
            </a:extLst>
          </p:cNvPr>
          <p:cNvSpPr txBox="1">
            <a:spLocks/>
          </p:cNvSpPr>
          <p:nvPr/>
        </p:nvSpPr>
        <p:spPr>
          <a:xfrm>
            <a:off x="1089060" y="829300"/>
            <a:ext cx="10013879" cy="3886537"/>
          </a:xfrm>
          <a:prstGeom prst="rect">
            <a:avLst/>
          </a:prstGeom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b="1" dirty="0">
                <a:solidFill>
                  <a:schemeClr val="accent1"/>
                </a:solidFill>
                <a:latin typeface="Aptos" panose="020B0004020202020204" pitchFamily="34" charset="0"/>
                <a:cs typeface="Arial" panose="020B0604020202020204" pitchFamily="34" charset="0"/>
              </a:rPr>
              <a:t>Time &amp; Motion progress to date: </a:t>
            </a:r>
          </a:p>
          <a:p>
            <a:endParaRPr lang="en-GB" b="1" dirty="0">
              <a:solidFill>
                <a:schemeClr val="accent1"/>
              </a:solidFill>
              <a:latin typeface="Aptos" panose="020B00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dirty="0">
                <a:latin typeface="Aptos" panose="020B0004020202020204" pitchFamily="34" charset="0"/>
                <a:cs typeface="Arial" panose="020B0604020202020204" pitchFamily="34" charset="0"/>
              </a:rPr>
              <a:t>Feedback from RUH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dirty="0">
                <a:latin typeface="Aptos" panose="020B0004020202020204" pitchFamily="34" charset="0"/>
                <a:cs typeface="Arial" panose="020B0604020202020204" pitchFamily="34" charset="0"/>
              </a:rPr>
              <a:t>Planning conversations with all Provid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dirty="0">
                <a:latin typeface="Aptos" panose="020B0004020202020204" pitchFamily="34" charset="0"/>
                <a:cs typeface="Arial" panose="020B0604020202020204" pitchFamily="34" charset="0"/>
              </a:rPr>
              <a:t>Funding suppor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GB" sz="2500" dirty="0">
              <a:latin typeface="Aptos" panose="020B00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500" dirty="0">
                <a:latin typeface="Aptos" panose="020B0004020202020204" pitchFamily="34" charset="0"/>
                <a:cs typeface="Arial" panose="020B0604020202020204" pitchFamily="34" charset="0"/>
              </a:rPr>
              <a:t>Collation of outputs and support with this</a:t>
            </a:r>
          </a:p>
        </p:txBody>
      </p:sp>
      <p:pic>
        <p:nvPicPr>
          <p:cNvPr id="3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1745543E-3712-243F-302D-09EC16D2C17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87282" y="189868"/>
            <a:ext cx="1828804" cy="74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80548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C46507-61EF-BB13-36BB-B4CBCCE367FB}"/>
              </a:ext>
            </a:extLst>
          </p:cNvPr>
          <p:cNvSpPr txBox="1">
            <a:spLocks/>
          </p:cNvSpPr>
          <p:nvPr/>
        </p:nvSpPr>
        <p:spPr>
          <a:xfrm>
            <a:off x="527481" y="803646"/>
            <a:ext cx="10515600" cy="1325563"/>
          </a:xfrm>
          <a:prstGeom prst="rect">
            <a:avLst/>
          </a:prstGeom>
        </p:spPr>
        <p:txBody>
          <a:bodyPr>
            <a:normAutofit fontScale="825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sz="4900" b="1" dirty="0">
                <a:solidFill>
                  <a:schemeClr val="accent1"/>
                </a:solidFill>
                <a:latin typeface="Aptos" panose="020B0004020202020204" pitchFamily="34" charset="0"/>
                <a:cs typeface="Arial"/>
              </a:rPr>
              <a:t>Next steps – planning overview</a:t>
            </a:r>
          </a:p>
          <a:p>
            <a:br>
              <a:rPr lang="en-GB" dirty="0">
                <a:solidFill>
                  <a:srgbClr val="4472C4">
                    <a:lumMod val="75000"/>
                  </a:srgbClr>
                </a:solidFill>
                <a:latin typeface="Aptos" panose="020B0004020202020204" pitchFamily="34" charset="0"/>
                <a:cs typeface="Arial"/>
              </a:rPr>
            </a:br>
            <a:endParaRPr lang="en-GB" dirty="0"/>
          </a:p>
        </p:txBody>
      </p:sp>
      <p:pic>
        <p:nvPicPr>
          <p:cNvPr id="4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BF902C62-9601-49A8-6CD7-36B7EEE879F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757" y="117690"/>
            <a:ext cx="1828804" cy="746762"/>
          </a:xfrm>
          <a:prstGeom prst="rect">
            <a:avLst/>
          </a:prstGeom>
        </p:spPr>
      </p:pic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3D6BB841-656D-EAEC-8F84-3510A8EC14CF}"/>
              </a:ext>
            </a:extLst>
          </p:cNvPr>
          <p:cNvGraphicFramePr/>
          <p:nvPr/>
        </p:nvGraphicFramePr>
        <p:xfrm>
          <a:off x="527481" y="719666"/>
          <a:ext cx="11378379" cy="566247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99184676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E4A28543-CF9E-2394-A3E8-C7B27D204CB4}"/>
              </a:ext>
            </a:extLst>
          </p:cNvPr>
          <p:cNvSpPr txBox="1"/>
          <p:nvPr/>
        </p:nvSpPr>
        <p:spPr>
          <a:xfrm>
            <a:off x="350874" y="1200332"/>
            <a:ext cx="10738884" cy="553997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dirty="0">
                <a:effectLst/>
                <a:latin typeface="Aptos" panose="020B0004020202020204" pitchFamily="34" charset="0"/>
                <a:ea typeface="Aptos" panose="020B0004020202020204" pitchFamily="34" charset="0"/>
                <a:cs typeface="Aptos" panose="020B0004020202020204" pitchFamily="34" charset="0"/>
              </a:rPr>
              <a:t>Dr Anne Rigg, National Specialty Advisor for SACT: </a:t>
            </a:r>
          </a:p>
          <a:p>
            <a:endParaRPr lang="en-GB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SACT Capacity and Demand work has been a way of getting SACT into the Planning Pack</a:t>
            </a:r>
            <a:endParaRPr lang="en-GB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Variation in approaches for completing this work, recognition that it is challenging to gather information and benefit in making the local process being managed to add value rather than ‘ticking a box’</a:t>
            </a:r>
            <a:endParaRPr lang="en-GB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Call from attendees (mix of SACT Provider Teams and Alliance Teams) for more national support for the challenges around SACT delivery</a:t>
            </a:r>
            <a:endParaRPr lang="en-GB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UK SACT Board planning to develop and publish SACT Protocols to help reduce unwarranted variation and duplication of workload</a:t>
            </a:r>
            <a:endParaRPr lang="en-GB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Updated Chemotherapy/ SACT Service Specifications in production and will be shared in draft soon</a:t>
            </a:r>
            <a:endParaRPr lang="en-GB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pPr marL="342900" lvl="0" indent="-342900">
              <a:buFont typeface="Symbol" panose="05050102010706020507" pitchFamily="18" charset="2"/>
              <a:buChar char=""/>
            </a:pPr>
            <a:r>
              <a:rPr lang="en-GB" sz="24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  <a:t>BOPA figures indicate a national growth in SACT demand of circa 6-7%</a:t>
            </a:r>
            <a:endParaRPr lang="en-GB" sz="24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endParaRPr lang="en-GB" b="1" dirty="0"/>
          </a:p>
        </p:txBody>
      </p:sp>
      <p:pic>
        <p:nvPicPr>
          <p:cNvPr id="3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3A65ED0C-A225-F68D-B9EB-F14AF0F880A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757" y="117690"/>
            <a:ext cx="1828804" cy="746762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2302CFD-5796-5469-E29A-7E6DE38038C7}"/>
              </a:ext>
            </a:extLst>
          </p:cNvPr>
          <p:cNvSpPr txBox="1"/>
          <p:nvPr/>
        </p:nvSpPr>
        <p:spPr>
          <a:xfrm>
            <a:off x="446567" y="46477"/>
            <a:ext cx="60977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haping The Future of Systemic Anti-Cancer Therapy (SACT): </a:t>
            </a: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vercoming Challenges &amp; Fostering Innovation</a:t>
            </a:r>
            <a:endParaRPr lang="en-GB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CA09600-68BC-6D7C-9C60-9F7389C0218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60287" y="104361"/>
            <a:ext cx="1362075" cy="923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49962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omputer screen with text on it&#10;&#10;Description automatically generated">
            <a:extLst>
              <a:ext uri="{FF2B5EF4-FFF2-40B4-BE49-F238E27FC236}">
                <a16:creationId xmlns:a16="http://schemas.microsoft.com/office/drawing/2014/main" id="{FD925A59-F9AF-101C-AC61-6770E36997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1428" y="936818"/>
            <a:ext cx="10707008" cy="5860358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18C23344-FC98-708D-8681-C7DD855AB2A7}"/>
              </a:ext>
            </a:extLst>
          </p:cNvPr>
          <p:cNvSpPr txBox="1"/>
          <p:nvPr/>
        </p:nvSpPr>
        <p:spPr>
          <a:xfrm>
            <a:off x="446567" y="46477"/>
            <a:ext cx="6097772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800" b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haping The Future of Systemic Anti-Cancer Therapy (SACT): </a:t>
            </a:r>
            <a:r>
              <a:rPr lang="en-GB" sz="1800" b="1" i="1" dirty="0">
                <a:solidFill>
                  <a:srgbClr val="000000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Overcoming Challenges &amp; Fostering Innovation</a:t>
            </a:r>
            <a:endParaRPr lang="en-GB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A41CF54-2763-8728-0910-F6522BB0B18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4339" y="118843"/>
            <a:ext cx="1147830" cy="778598"/>
          </a:xfrm>
          <a:prstGeom prst="rect">
            <a:avLst/>
          </a:prstGeom>
        </p:spPr>
      </p:pic>
      <p:pic>
        <p:nvPicPr>
          <p:cNvPr id="6" name="Content Placeholder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F86F28F9-FBD1-D171-A7B1-41DD8D5839B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77757" y="117690"/>
            <a:ext cx="1828804" cy="74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72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NHS_England_Nov15">
  <a:themeElements>
    <a:clrScheme name="NHS England 2014 v2">
      <a:dk1>
        <a:srgbClr val="000000"/>
      </a:dk1>
      <a:lt1>
        <a:srgbClr val="FFFFFF"/>
      </a:lt1>
      <a:dk2>
        <a:srgbClr val="0072C6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72C6"/>
      </a:accent4>
      <a:accent5>
        <a:srgbClr val="003893"/>
      </a:accent5>
      <a:accent6>
        <a:srgbClr val="B2C7CA"/>
      </a:accent6>
      <a:hlink>
        <a:srgbClr val="0072C6"/>
      </a:hlink>
      <a:folHlink>
        <a:srgbClr val="9CBDC8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1440" rIns="91440" bIns="9144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400" b="0" i="0" u="none" strike="noStrike" cap="none" normalizeH="0" baseline="0" dirty="0" err="1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>
        <a:noFill/>
      </a:spPr>
      <a:bodyPr wrap="square" rtlCol="0">
        <a:noAutofit/>
      </a:bodyPr>
      <a:lstStyle>
        <a:defPPr>
          <a:defRPr dirty="0" err="1" smtClean="0">
            <a:latin typeface="+mn-lt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A9979EC5-02B0-4942-BE6F-AEECA402D108}" vid="{D3EA367E-90A2-41B1-9366-311E894200A9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56664684AECC046B7242D31F41758BF" ma:contentTypeVersion="12" ma:contentTypeDescription="Create a new document." ma:contentTypeScope="" ma:versionID="571a7c6a63c35c7e4069f8ff53385e66">
  <xsd:schema xmlns:xsd="http://www.w3.org/2001/XMLSchema" xmlns:xs="http://www.w3.org/2001/XMLSchema" xmlns:p="http://schemas.microsoft.com/office/2006/metadata/properties" xmlns:ns2="83bf93d6-90ef-4c40-b432-3688ee462b88" xmlns:ns3="e2187767-90b3-4883-b7e5-3532ba822f20" targetNamespace="http://schemas.microsoft.com/office/2006/metadata/properties" ma:root="true" ma:fieldsID="6147be738a4d927bee0926594356254b" ns2:_="" ns3:_="">
    <xsd:import namespace="83bf93d6-90ef-4c40-b432-3688ee462b88"/>
    <xsd:import namespace="e2187767-90b3-4883-b7e5-3532ba822f2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f93d6-90ef-4c40-b432-3688ee462b8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7" nillable="true" ma:taxonomy="true" ma:internalName="lcf76f155ced4ddcb4097134ff3c332f" ma:taxonomyFieldName="MediaServiceImageTags" ma:displayName="Image Tags" ma:readOnly="false" ma:fieldId="{5cf76f15-5ced-4ddc-b409-7134ff3c332f}" ma:taxonomyMulti="true" ma:sspId="6c45826a-f96a-479d-b99d-67de9b08c4d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187767-90b3-4883-b7e5-3532ba822f20" elementFormDefault="qualified">
    <xsd:import namespace="http://schemas.microsoft.com/office/2006/documentManagement/types"/>
    <xsd:import namespace="http://schemas.microsoft.com/office/infopath/2007/PartnerControls"/>
    <xsd:element name="TaxCatchAll" ma:index="18" nillable="true" ma:displayName="Taxonomy Catch All Column" ma:hidden="true" ma:list="{7c679a50-2e02-47fd-ab01-3176f0c50c43}" ma:internalName="TaxCatchAll" ma:showField="CatchAllData" ma:web="e2187767-90b3-4883-b7e5-3532ba822f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e2187767-90b3-4883-b7e5-3532ba822f20" xsi:nil="true"/>
    <lcf76f155ced4ddcb4097134ff3c332f xmlns="83bf93d6-90ef-4c40-b432-3688ee462b88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5D404679-1445-470D-B3BB-958C81D141DA}">
  <ds:schemaRefs>
    <ds:schemaRef ds:uri="83bf93d6-90ef-4c40-b432-3688ee462b88"/>
    <ds:schemaRef ds:uri="e2187767-90b3-4883-b7e5-3532ba822f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341BEE79-1224-4D43-A45C-E37746F12325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410DE3B-5CBE-4F58-82BF-F713F6F4B1DF}">
  <ds:schemaRefs>
    <ds:schemaRef ds:uri="83bf93d6-90ef-4c40-b432-3688ee462b88"/>
    <ds:schemaRef ds:uri="e2187767-90b3-4883-b7e5-3532ba822f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106</TotalTime>
  <Words>885</Words>
  <Application>Microsoft Office PowerPoint</Application>
  <PresentationFormat>Widescreen</PresentationFormat>
  <Paragraphs>86</Paragraphs>
  <Slides>11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ptos</vt:lpstr>
      <vt:lpstr>Arial</vt:lpstr>
      <vt:lpstr>Calibri</vt:lpstr>
      <vt:lpstr>Calibri Light</vt:lpstr>
      <vt:lpstr>Symbol</vt:lpstr>
      <vt:lpstr>Trebuchet MS</vt:lpstr>
      <vt:lpstr>Wingdings</vt:lpstr>
      <vt:lpstr>Office Theme</vt:lpstr>
      <vt:lpstr>NHS_England_Nov15</vt:lpstr>
      <vt:lpstr>think-cell Slide</vt:lpstr>
      <vt:lpstr>SWAG Cancer Alliance:  SACT Capacity and Demand Project Group</vt:lpstr>
      <vt:lpstr>Overview of SACT Capacity and  Demand modelling requirement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tricia McLarnon</dc:creator>
  <cp:lastModifiedBy>Helen Dunderdale</cp:lastModifiedBy>
  <cp:revision>11</cp:revision>
  <dcterms:created xsi:type="dcterms:W3CDTF">2024-07-15T08:46:33Z</dcterms:created>
  <dcterms:modified xsi:type="dcterms:W3CDTF">2025-02-26T19:0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56664684AECC046B7242D31F41758BF</vt:lpwstr>
  </property>
  <property fmtid="{D5CDD505-2E9C-101B-9397-08002B2CF9AE}" pid="3" name="MediaServiceImageTags">
    <vt:lpwstr/>
  </property>
</Properties>
</file>